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00" r:id="rId5"/>
  </p:sldMasterIdLst>
  <p:notesMasterIdLst>
    <p:notesMasterId r:id="rId16"/>
  </p:notesMasterIdLst>
  <p:handoutMasterIdLst>
    <p:handoutMasterId r:id="rId17"/>
  </p:handoutMasterIdLst>
  <p:sldIdLst>
    <p:sldId id="1236" r:id="rId6"/>
    <p:sldId id="287" r:id="rId7"/>
    <p:sldId id="472" r:id="rId8"/>
    <p:sldId id="1217" r:id="rId9"/>
    <p:sldId id="294" r:id="rId10"/>
    <p:sldId id="477" r:id="rId11"/>
    <p:sldId id="480" r:id="rId12"/>
    <p:sldId id="791" r:id="rId13"/>
    <p:sldId id="1235" r:id="rId14"/>
    <p:sldId id="466" r:id="rId15"/>
  </p:sldIdLst>
  <p:sldSz cx="12192000" cy="6858000"/>
  <p:notesSz cx="6858000" cy="9144000"/>
  <p:custDataLst>
    <p:tags r:id="rId1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F6F6F6"/>
    <a:srgbClr val="B8EEF3"/>
    <a:srgbClr val="FDFDFD"/>
    <a:srgbClr val="F9F9F9"/>
    <a:srgbClr val="1F4C6F"/>
    <a:srgbClr val="E95D0F"/>
    <a:srgbClr val="17486E"/>
    <a:srgbClr val="C62866"/>
    <a:srgbClr val="007D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F8456F-1D09-4E5B-8683-1A80505D6EB4}" v="345" dt="2020-07-20T14:24:42.333"/>
  </p1510:revLst>
</p1510:revInfo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62" autoAdjust="0"/>
    <p:restoredTop sz="94638" autoAdjust="0"/>
  </p:normalViewPr>
  <p:slideViewPr>
    <p:cSldViewPr showGuides="1">
      <p:cViewPr varScale="1">
        <p:scale>
          <a:sx n="72" d="100"/>
          <a:sy n="72" d="100"/>
        </p:scale>
        <p:origin x="738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75"/>
    </p:cViewPr>
  </p:sorterViewPr>
  <p:notesViewPr>
    <p:cSldViewPr>
      <p:cViewPr varScale="1">
        <p:scale>
          <a:sx n="52" d="100"/>
          <a:sy n="52" d="100"/>
        </p:scale>
        <p:origin x="285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oe oana" userId="ee49d124-f45d-41f8-8da5-9ab46192c709" providerId="ADAL" clId="{1AF8456F-1D09-4E5B-8683-1A80505D6EB4}"/>
    <pc:docChg chg="undo custSel addSld delSld modSld sldOrd">
      <pc:chgData name="stroe oana" userId="ee49d124-f45d-41f8-8da5-9ab46192c709" providerId="ADAL" clId="{1AF8456F-1D09-4E5B-8683-1A80505D6EB4}" dt="2020-07-20T14:24:50.738" v="1140" actId="20577"/>
      <pc:docMkLst>
        <pc:docMk/>
      </pc:docMkLst>
      <pc:sldChg chg="addSp modSp">
        <pc:chgData name="stroe oana" userId="ee49d124-f45d-41f8-8da5-9ab46192c709" providerId="ADAL" clId="{1AF8456F-1D09-4E5B-8683-1A80505D6EB4}" dt="2020-07-20T14:24:50.738" v="1140" actId="20577"/>
        <pc:sldMkLst>
          <pc:docMk/>
          <pc:sldMk cId="776153670" sldId="284"/>
        </pc:sldMkLst>
        <pc:spChg chg="add mod">
          <ac:chgData name="stroe oana" userId="ee49d124-f45d-41f8-8da5-9ab46192c709" providerId="ADAL" clId="{1AF8456F-1D09-4E5B-8683-1A80505D6EB4}" dt="2020-07-20T14:24:50.738" v="1140" actId="20577"/>
          <ac:spMkLst>
            <pc:docMk/>
            <pc:sldMk cId="776153670" sldId="284"/>
            <ac:spMk id="2" creationId="{94922B20-2303-46B4-BDDA-3A910380C09C}"/>
          </ac:spMkLst>
        </pc:spChg>
        <pc:spChg chg="mod">
          <ac:chgData name="stroe oana" userId="ee49d124-f45d-41f8-8da5-9ab46192c709" providerId="ADAL" clId="{1AF8456F-1D09-4E5B-8683-1A80505D6EB4}" dt="2020-07-20T14:24:38.344" v="1128" actId="14100"/>
          <ac:spMkLst>
            <pc:docMk/>
            <pc:sldMk cId="776153670" sldId="284"/>
            <ac:spMk id="10" creationId="{00000000-0000-0000-0000-000000000000}"/>
          </ac:spMkLst>
        </pc:spChg>
      </pc:sldChg>
      <pc:sldChg chg="del">
        <pc:chgData name="stroe oana" userId="ee49d124-f45d-41f8-8da5-9ab46192c709" providerId="ADAL" clId="{1AF8456F-1D09-4E5B-8683-1A80505D6EB4}" dt="2020-07-20T13:08:14.807" v="208" actId="2696"/>
        <pc:sldMkLst>
          <pc:docMk/>
          <pc:sldMk cId="1294142407" sldId="285"/>
        </pc:sldMkLst>
      </pc:sldChg>
      <pc:sldChg chg="addSp delSp modSp del ord">
        <pc:chgData name="stroe oana" userId="ee49d124-f45d-41f8-8da5-9ab46192c709" providerId="ADAL" clId="{1AF8456F-1D09-4E5B-8683-1A80505D6EB4}" dt="2020-07-20T14:21:37.326" v="1075" actId="2696"/>
        <pc:sldMkLst>
          <pc:docMk/>
          <pc:sldMk cId="4237700019" sldId="286"/>
        </pc:sldMkLst>
        <pc:spChg chg="add del mod">
          <ac:chgData name="stroe oana" userId="ee49d124-f45d-41f8-8da5-9ab46192c709" providerId="ADAL" clId="{1AF8456F-1D09-4E5B-8683-1A80505D6EB4}" dt="2020-07-20T14:11:03.911" v="987" actId="478"/>
          <ac:spMkLst>
            <pc:docMk/>
            <pc:sldMk cId="4237700019" sldId="286"/>
            <ac:spMk id="2" creationId="{5FEF76A8-97F3-47E0-928B-BD0E464B37DC}"/>
          </ac:spMkLst>
        </pc:spChg>
        <pc:spChg chg="mod">
          <ac:chgData name="stroe oana" userId="ee49d124-f45d-41f8-8da5-9ab46192c709" providerId="ADAL" clId="{1AF8456F-1D09-4E5B-8683-1A80505D6EB4}" dt="2020-07-20T14:11:08.424" v="988" actId="403"/>
          <ac:spMkLst>
            <pc:docMk/>
            <pc:sldMk cId="4237700019" sldId="286"/>
            <ac:spMk id="3" creationId="{00000000-0000-0000-0000-000000000000}"/>
          </ac:spMkLst>
        </pc:spChg>
        <pc:spChg chg="add del mod">
          <ac:chgData name="stroe oana" userId="ee49d124-f45d-41f8-8da5-9ab46192c709" providerId="ADAL" clId="{1AF8456F-1D09-4E5B-8683-1A80505D6EB4}" dt="2020-07-20T13:52:02.027" v="669" actId="478"/>
          <ac:spMkLst>
            <pc:docMk/>
            <pc:sldMk cId="4237700019" sldId="286"/>
            <ac:spMk id="4" creationId="{4C4BEB7E-0E42-497D-BEA0-921905716BF6}"/>
          </ac:spMkLst>
        </pc:spChg>
        <pc:spChg chg="add del mod">
          <ac:chgData name="stroe oana" userId="ee49d124-f45d-41f8-8da5-9ab46192c709" providerId="ADAL" clId="{1AF8456F-1D09-4E5B-8683-1A80505D6EB4}" dt="2020-07-20T14:07:40.403" v="938" actId="478"/>
          <ac:spMkLst>
            <pc:docMk/>
            <pc:sldMk cId="4237700019" sldId="286"/>
            <ac:spMk id="5" creationId="{56E57F73-60DF-4E14-BFE0-CDBA6E1F199C}"/>
          </ac:spMkLst>
        </pc:spChg>
        <pc:spChg chg="add del mod">
          <ac:chgData name="stroe oana" userId="ee49d124-f45d-41f8-8da5-9ab46192c709" providerId="ADAL" clId="{1AF8456F-1D09-4E5B-8683-1A80505D6EB4}" dt="2020-07-20T14:08:14.825" v="945" actId="478"/>
          <ac:spMkLst>
            <pc:docMk/>
            <pc:sldMk cId="4237700019" sldId="286"/>
            <ac:spMk id="6" creationId="{70D019B9-C12C-4021-AA26-1AD3C00FE7F4}"/>
          </ac:spMkLst>
        </pc:spChg>
        <pc:spChg chg="add del mod ord">
          <ac:chgData name="stroe oana" userId="ee49d124-f45d-41f8-8da5-9ab46192c709" providerId="ADAL" clId="{1AF8456F-1D09-4E5B-8683-1A80505D6EB4}" dt="2020-07-20T14:12:51.606" v="1010" actId="478"/>
          <ac:spMkLst>
            <pc:docMk/>
            <pc:sldMk cId="4237700019" sldId="286"/>
            <ac:spMk id="10" creationId="{15B5C6B4-2491-415A-87F1-B79E91D4B987}"/>
          </ac:spMkLst>
        </pc:spChg>
        <pc:spChg chg="add del mod ord">
          <ac:chgData name="stroe oana" userId="ee49d124-f45d-41f8-8da5-9ab46192c709" providerId="ADAL" clId="{1AF8456F-1D09-4E5B-8683-1A80505D6EB4}" dt="2020-07-20T14:12:49.222" v="1009" actId="478"/>
          <ac:spMkLst>
            <pc:docMk/>
            <pc:sldMk cId="4237700019" sldId="286"/>
            <ac:spMk id="47" creationId="{4E66F63B-65C0-4B31-8A6A-4B086E4F4F5E}"/>
          </ac:spMkLst>
        </pc:spChg>
        <pc:spChg chg="add del mod ord">
          <ac:chgData name="stroe oana" userId="ee49d124-f45d-41f8-8da5-9ab46192c709" providerId="ADAL" clId="{1AF8456F-1D09-4E5B-8683-1A80505D6EB4}" dt="2020-07-20T14:12:53.951" v="1011" actId="478"/>
          <ac:spMkLst>
            <pc:docMk/>
            <pc:sldMk cId="4237700019" sldId="286"/>
            <ac:spMk id="48" creationId="{FEE0B485-CC18-48DB-80BE-417BE0F2C3DC}"/>
          </ac:spMkLst>
        </pc:spChg>
        <pc:spChg chg="mod">
          <ac:chgData name="stroe oana" userId="ee49d124-f45d-41f8-8da5-9ab46192c709" providerId="ADAL" clId="{1AF8456F-1D09-4E5B-8683-1A80505D6EB4}" dt="2020-07-20T14:14:00.548" v="1030" actId="20577"/>
          <ac:spMkLst>
            <pc:docMk/>
            <pc:sldMk cId="4237700019" sldId="286"/>
            <ac:spMk id="63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13:24.227" v="1015" actId="403"/>
          <ac:spMkLst>
            <pc:docMk/>
            <pc:sldMk cId="4237700019" sldId="286"/>
            <ac:spMk id="67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14:04.911" v="1033" actId="20577"/>
          <ac:spMkLst>
            <pc:docMk/>
            <pc:sldMk cId="4237700019" sldId="286"/>
            <ac:spMk id="68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14:10.589" v="1037" actId="14100"/>
          <ac:spMkLst>
            <pc:docMk/>
            <pc:sldMk cId="4237700019" sldId="286"/>
            <ac:spMk id="71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58.042" v="998" actId="1076"/>
          <ac:spMkLst>
            <pc:docMk/>
            <pc:sldMk cId="4237700019" sldId="286"/>
            <ac:spMk id="75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2:06.227" v="1000" actId="1076"/>
          <ac:spMkLst>
            <pc:docMk/>
            <pc:sldMk cId="4237700019" sldId="286"/>
            <ac:spMk id="79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2:04.161" v="999" actId="14100"/>
          <ac:spMkLst>
            <pc:docMk/>
            <pc:sldMk cId="4237700019" sldId="286"/>
            <ac:spMk id="82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55.236" v="997" actId="1076"/>
          <ac:spMkLst>
            <pc:docMk/>
            <pc:sldMk cId="4237700019" sldId="286"/>
            <ac:spMk id="84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49.948" v="996" actId="1036"/>
          <ac:spMkLst>
            <pc:docMk/>
            <pc:sldMk cId="4237700019" sldId="286"/>
            <ac:spMk id="85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22.132" v="990" actId="554"/>
          <ac:spMkLst>
            <pc:docMk/>
            <pc:sldMk cId="4237700019" sldId="286"/>
            <ac:spMk id="86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22.132" v="990" actId="554"/>
          <ac:spMkLst>
            <pc:docMk/>
            <pc:sldMk cId="4237700019" sldId="286"/>
            <ac:spMk id="87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30.805" v="993" actId="1038"/>
          <ac:spMkLst>
            <pc:docMk/>
            <pc:sldMk cId="4237700019" sldId="286"/>
            <ac:spMk id="88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22.132" v="990" actId="554"/>
          <ac:spMkLst>
            <pc:docMk/>
            <pc:sldMk cId="4237700019" sldId="286"/>
            <ac:spMk id="89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2:31.865" v="1008" actId="1076"/>
          <ac:spMkLst>
            <pc:docMk/>
            <pc:sldMk cId="4237700019" sldId="286"/>
            <ac:spMk id="90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0:05.898" v="973" actId="1076"/>
          <ac:spMkLst>
            <pc:docMk/>
            <pc:sldMk cId="4237700019" sldId="286"/>
            <ac:spMk id="91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22.132" v="990" actId="554"/>
          <ac:spMkLst>
            <pc:docMk/>
            <pc:sldMk cId="4237700019" sldId="286"/>
            <ac:spMk id="100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43.556" v="994" actId="1076"/>
          <ac:spMkLst>
            <pc:docMk/>
            <pc:sldMk cId="4237700019" sldId="286"/>
            <ac:spMk id="101" creationId="{00000000-0000-0000-0000-000000000000}"/>
          </ac:spMkLst>
        </pc:spChg>
        <pc:spChg chg="mod topLvl">
          <ac:chgData name="stroe oana" userId="ee49d124-f45d-41f8-8da5-9ab46192c709" providerId="ADAL" clId="{1AF8456F-1D09-4E5B-8683-1A80505D6EB4}" dt="2020-07-20T14:11:49.948" v="996" actId="1036"/>
          <ac:spMkLst>
            <pc:docMk/>
            <pc:sldMk cId="4237700019" sldId="286"/>
            <ac:spMk id="102" creationId="{00000000-0000-0000-0000-000000000000}"/>
          </ac:spMkLst>
        </pc:spChg>
        <pc:grpChg chg="add del mod">
          <ac:chgData name="stroe oana" userId="ee49d124-f45d-41f8-8da5-9ab46192c709" providerId="ADAL" clId="{1AF8456F-1D09-4E5B-8683-1A80505D6EB4}" dt="2020-07-20T14:09:11.580" v="960" actId="165"/>
          <ac:grpSpMkLst>
            <pc:docMk/>
            <pc:sldMk cId="4237700019" sldId="286"/>
            <ac:grpSpMk id="9" creationId="{64683943-7F9A-4CA7-BA27-EE5E738EA29D}"/>
          </ac:grpSpMkLst>
        </pc:grpChg>
        <pc:graphicFrameChg chg="mod modGraphic">
          <ac:chgData name="stroe oana" userId="ee49d124-f45d-41f8-8da5-9ab46192c709" providerId="ADAL" clId="{1AF8456F-1D09-4E5B-8683-1A80505D6EB4}" dt="2020-07-20T13:53:25.206" v="680" actId="14100"/>
          <ac:graphicFrameMkLst>
            <pc:docMk/>
            <pc:sldMk cId="4237700019" sldId="286"/>
            <ac:graphicFrameMk id="74" creationId="{00000000-0000-0000-0000-000000000000}"/>
          </ac:graphicFrameMkLst>
        </pc:graphicFrameChg>
        <pc:picChg chg="mod">
          <ac:chgData name="stroe oana" userId="ee49d124-f45d-41f8-8da5-9ab46192c709" providerId="ADAL" clId="{1AF8456F-1D09-4E5B-8683-1A80505D6EB4}" dt="2020-07-20T14:14:36.353" v="1042"/>
          <ac:picMkLst>
            <pc:docMk/>
            <pc:sldMk cId="4237700019" sldId="286"/>
            <ac:picMk id="49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14:30.039" v="1041"/>
          <ac:picMkLst>
            <pc:docMk/>
            <pc:sldMk cId="4237700019" sldId="286"/>
            <ac:picMk id="53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14:13.248" v="1038" actId="1076"/>
          <ac:picMkLst>
            <pc:docMk/>
            <pc:sldMk cId="4237700019" sldId="286"/>
            <ac:picMk id="61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14:15.558" v="1039" actId="1076"/>
          <ac:picMkLst>
            <pc:docMk/>
            <pc:sldMk cId="4237700019" sldId="286"/>
            <ac:picMk id="62" creationId="{00000000-0000-0000-0000-000000000000}"/>
          </ac:picMkLst>
        </pc:picChg>
        <pc:picChg chg="mod topLvl">
          <ac:chgData name="stroe oana" userId="ee49d124-f45d-41f8-8da5-9ab46192c709" providerId="ADAL" clId="{1AF8456F-1D09-4E5B-8683-1A80505D6EB4}" dt="2020-07-20T14:10:47.383" v="984" actId="1038"/>
          <ac:picMkLst>
            <pc:docMk/>
            <pc:sldMk cId="4237700019" sldId="286"/>
            <ac:picMk id="76" creationId="{00000000-0000-0000-0000-000000000000}"/>
          </ac:picMkLst>
        </pc:picChg>
        <pc:picChg chg="mod topLvl">
          <ac:chgData name="stroe oana" userId="ee49d124-f45d-41f8-8da5-9ab46192c709" providerId="ADAL" clId="{1AF8456F-1D09-4E5B-8683-1A80505D6EB4}" dt="2020-07-20T14:10:58.777" v="986" actId="1038"/>
          <ac:picMkLst>
            <pc:docMk/>
            <pc:sldMk cId="4237700019" sldId="286"/>
            <ac:picMk id="77" creationId="{00000000-0000-0000-0000-000000000000}"/>
          </ac:picMkLst>
        </pc:picChg>
        <pc:picChg chg="mod topLvl">
          <ac:chgData name="stroe oana" userId="ee49d124-f45d-41f8-8da5-9ab46192c709" providerId="ADAL" clId="{1AF8456F-1D09-4E5B-8683-1A80505D6EB4}" dt="2020-07-20T14:10:47.383" v="984" actId="1038"/>
          <ac:picMkLst>
            <pc:docMk/>
            <pc:sldMk cId="4237700019" sldId="286"/>
            <ac:picMk id="78" creationId="{00000000-0000-0000-0000-000000000000}"/>
          </ac:picMkLst>
        </pc:picChg>
        <pc:picChg chg="mod topLvl">
          <ac:chgData name="stroe oana" userId="ee49d124-f45d-41f8-8da5-9ab46192c709" providerId="ADAL" clId="{1AF8456F-1D09-4E5B-8683-1A80505D6EB4}" dt="2020-07-20T14:11:30.805" v="993" actId="1038"/>
          <ac:picMkLst>
            <pc:docMk/>
            <pc:sldMk cId="4237700019" sldId="286"/>
            <ac:picMk id="80" creationId="{00000000-0000-0000-0000-000000000000}"/>
          </ac:picMkLst>
        </pc:picChg>
        <pc:picChg chg="mod topLvl">
          <ac:chgData name="stroe oana" userId="ee49d124-f45d-41f8-8da5-9ab46192c709" providerId="ADAL" clId="{1AF8456F-1D09-4E5B-8683-1A80505D6EB4}" dt="2020-07-20T14:10:00.463" v="972" actId="554"/>
          <ac:picMkLst>
            <pc:docMk/>
            <pc:sldMk cId="4237700019" sldId="286"/>
            <ac:picMk id="81" creationId="{00000000-0000-0000-0000-000000000000}"/>
          </ac:picMkLst>
        </pc:picChg>
        <pc:picChg chg="mod topLvl">
          <ac:chgData name="stroe oana" userId="ee49d124-f45d-41f8-8da5-9ab46192c709" providerId="ADAL" clId="{1AF8456F-1D09-4E5B-8683-1A80505D6EB4}" dt="2020-07-20T14:10:00.463" v="972" actId="554"/>
          <ac:picMkLst>
            <pc:docMk/>
            <pc:sldMk cId="4237700019" sldId="286"/>
            <ac:picMk id="96" creationId="{00000000-0000-0000-0000-000000000000}"/>
          </ac:picMkLst>
        </pc:picChg>
        <pc:picChg chg="mod topLvl">
          <ac:chgData name="stroe oana" userId="ee49d124-f45d-41f8-8da5-9ab46192c709" providerId="ADAL" clId="{1AF8456F-1D09-4E5B-8683-1A80505D6EB4}" dt="2020-07-20T14:10:00.463" v="972" actId="554"/>
          <ac:picMkLst>
            <pc:docMk/>
            <pc:sldMk cId="4237700019" sldId="286"/>
            <ac:picMk id="97" creationId="{00000000-0000-0000-0000-000000000000}"/>
          </ac:picMkLst>
        </pc:picChg>
        <pc:picChg chg="mod topLvl">
          <ac:chgData name="stroe oana" userId="ee49d124-f45d-41f8-8da5-9ab46192c709" providerId="ADAL" clId="{1AF8456F-1D09-4E5B-8683-1A80505D6EB4}" dt="2020-07-20T14:10:00.463" v="972" actId="554"/>
          <ac:picMkLst>
            <pc:docMk/>
            <pc:sldMk cId="4237700019" sldId="286"/>
            <ac:picMk id="98" creationId="{00000000-0000-0000-0000-000000000000}"/>
          </ac:picMkLst>
        </pc:picChg>
        <pc:picChg chg="mod topLvl">
          <ac:chgData name="stroe oana" userId="ee49d124-f45d-41f8-8da5-9ab46192c709" providerId="ADAL" clId="{1AF8456F-1D09-4E5B-8683-1A80505D6EB4}" dt="2020-07-20T14:10:00.463" v="972" actId="554"/>
          <ac:picMkLst>
            <pc:docMk/>
            <pc:sldMk cId="4237700019" sldId="286"/>
            <ac:picMk id="99" creationId="{00000000-0000-0000-0000-000000000000}"/>
          </ac:picMkLst>
        </pc:picChg>
        <pc:cxnChg chg="mod topLvl">
          <ac:chgData name="stroe oana" userId="ee49d124-f45d-41f8-8da5-9ab46192c709" providerId="ADAL" clId="{1AF8456F-1D09-4E5B-8683-1A80505D6EB4}" dt="2020-07-20T14:12:18.332" v="1003" actId="14100"/>
          <ac:cxnSpMkLst>
            <pc:docMk/>
            <pc:sldMk cId="4237700019" sldId="286"/>
            <ac:cxnSpMk id="83" creationId="{00000000-0000-0000-0000-000000000000}"/>
          </ac:cxnSpMkLst>
        </pc:cxnChg>
        <pc:cxnChg chg="mod topLvl">
          <ac:chgData name="stroe oana" userId="ee49d124-f45d-41f8-8da5-9ab46192c709" providerId="ADAL" clId="{1AF8456F-1D09-4E5B-8683-1A80505D6EB4}" dt="2020-07-20T14:12:19.012" v="1004" actId="14100"/>
          <ac:cxnSpMkLst>
            <pc:docMk/>
            <pc:sldMk cId="4237700019" sldId="286"/>
            <ac:cxnSpMk id="105" creationId="{00000000-0000-0000-0000-000000000000}"/>
          </ac:cxnSpMkLst>
        </pc:cxnChg>
      </pc:sldChg>
      <pc:sldChg chg="addSp delSp modSp ord">
        <pc:chgData name="stroe oana" userId="ee49d124-f45d-41f8-8da5-9ab46192c709" providerId="ADAL" clId="{1AF8456F-1D09-4E5B-8683-1A80505D6EB4}" dt="2020-07-20T13:29:51.980" v="435" actId="20577"/>
        <pc:sldMkLst>
          <pc:docMk/>
          <pc:sldMk cId="2903067374" sldId="294"/>
        </pc:sldMkLst>
        <pc:spChg chg="add mod">
          <ac:chgData name="stroe oana" userId="ee49d124-f45d-41f8-8da5-9ab46192c709" providerId="ADAL" clId="{1AF8456F-1D09-4E5B-8683-1A80505D6EB4}" dt="2020-07-20T13:29:18.823" v="427" actId="20577"/>
          <ac:spMkLst>
            <pc:docMk/>
            <pc:sldMk cId="2903067374" sldId="294"/>
            <ac:spMk id="2" creationId="{F09F9B91-8AFB-42E1-9216-A55BBBD3C8C8}"/>
          </ac:spMkLst>
        </pc:spChg>
        <pc:spChg chg="add mod">
          <ac:chgData name="stroe oana" userId="ee49d124-f45d-41f8-8da5-9ab46192c709" providerId="ADAL" clId="{1AF8456F-1D09-4E5B-8683-1A80505D6EB4}" dt="2020-07-20T13:27:27.411" v="401"/>
          <ac:spMkLst>
            <pc:docMk/>
            <pc:sldMk cId="2903067374" sldId="294"/>
            <ac:spMk id="3" creationId="{6DC271D4-5CFC-4E75-9261-0CEC58111BD6}"/>
          </ac:spMkLst>
        </pc:spChg>
        <pc:spChg chg="mod">
          <ac:chgData name="stroe oana" userId="ee49d124-f45d-41f8-8da5-9ab46192c709" providerId="ADAL" clId="{1AF8456F-1D09-4E5B-8683-1A80505D6EB4}" dt="2020-07-20T13:27:34.691" v="404" actId="20577"/>
          <ac:spMkLst>
            <pc:docMk/>
            <pc:sldMk cId="2903067374" sldId="294"/>
            <ac:spMk id="4" creationId="{00000000-0000-0000-0000-000000000000}"/>
          </ac:spMkLst>
        </pc:spChg>
        <pc:spChg chg="del">
          <ac:chgData name="stroe oana" userId="ee49d124-f45d-41f8-8da5-9ab46192c709" providerId="ADAL" clId="{1AF8456F-1D09-4E5B-8683-1A80505D6EB4}" dt="2020-07-20T13:21:58.930" v="382" actId="478"/>
          <ac:spMkLst>
            <pc:docMk/>
            <pc:sldMk cId="2903067374" sldId="294"/>
            <ac:spMk id="11" creationId="{00000000-0000-0000-0000-000000000000}"/>
          </ac:spMkLst>
        </pc:spChg>
        <pc:spChg chg="del mod">
          <ac:chgData name="stroe oana" userId="ee49d124-f45d-41f8-8da5-9ab46192c709" providerId="ADAL" clId="{1AF8456F-1D09-4E5B-8683-1A80505D6EB4}" dt="2020-07-20T13:21:51.031" v="381" actId="478"/>
          <ac:spMkLst>
            <pc:docMk/>
            <pc:sldMk cId="2903067374" sldId="294"/>
            <ac:spMk id="15" creationId="{908608D7-19E5-4F11-98AD-D91F3E5DDF0E}"/>
          </ac:spMkLst>
        </pc:spChg>
        <pc:spChg chg="mod">
          <ac:chgData name="stroe oana" userId="ee49d124-f45d-41f8-8da5-9ab46192c709" providerId="ADAL" clId="{1AF8456F-1D09-4E5B-8683-1A80505D6EB4}" dt="2020-07-20T13:29:51.980" v="435" actId="20577"/>
          <ac:spMkLst>
            <pc:docMk/>
            <pc:sldMk cId="2903067374" sldId="294"/>
            <ac:spMk id="16" creationId="{E849BD14-80ED-4AAE-A3A9-A64E46829640}"/>
          </ac:spMkLst>
        </pc:spChg>
        <pc:spChg chg="del">
          <ac:chgData name="stroe oana" userId="ee49d124-f45d-41f8-8da5-9ab46192c709" providerId="ADAL" clId="{1AF8456F-1D09-4E5B-8683-1A80505D6EB4}" dt="2020-07-20T13:27:27.411" v="401"/>
          <ac:spMkLst>
            <pc:docMk/>
            <pc:sldMk cId="2903067374" sldId="294"/>
            <ac:spMk id="17" creationId="{7D9BBBF3-2AB3-457A-B373-9EEF30B5C51D}"/>
          </ac:spMkLst>
        </pc:spChg>
        <pc:picChg chg="mod modCrop">
          <ac:chgData name="stroe oana" userId="ee49d124-f45d-41f8-8da5-9ab46192c709" providerId="ADAL" clId="{1AF8456F-1D09-4E5B-8683-1A80505D6EB4}" dt="2020-07-20T13:22:17.458" v="386" actId="732"/>
          <ac:picMkLst>
            <pc:docMk/>
            <pc:sldMk cId="2903067374" sldId="294"/>
            <ac:picMk id="10" creationId="{88337022-8E44-4D7B-B0A5-A96236F2EE8B}"/>
          </ac:picMkLst>
        </pc:picChg>
      </pc:sldChg>
      <pc:sldChg chg="modSp">
        <pc:chgData name="stroe oana" userId="ee49d124-f45d-41f8-8da5-9ab46192c709" providerId="ADAL" clId="{1AF8456F-1D09-4E5B-8683-1A80505D6EB4}" dt="2020-07-20T14:23:15.169" v="1121" actId="20577"/>
        <pc:sldMkLst>
          <pc:docMk/>
          <pc:sldMk cId="1866742829" sldId="300"/>
        </pc:sldMkLst>
        <pc:spChg chg="mod">
          <ac:chgData name="stroe oana" userId="ee49d124-f45d-41f8-8da5-9ab46192c709" providerId="ADAL" clId="{1AF8456F-1D09-4E5B-8683-1A80505D6EB4}" dt="2020-07-20T14:23:15.169" v="1121" actId="20577"/>
          <ac:spMkLst>
            <pc:docMk/>
            <pc:sldMk cId="1866742829" sldId="300"/>
            <ac:spMk id="3" creationId="{41817202-F67A-497C-B653-277D786539C2}"/>
          </ac:spMkLst>
        </pc:spChg>
      </pc:sldChg>
      <pc:sldChg chg="addSp delSp modSp ord addAnim delAnim">
        <pc:chgData name="stroe oana" userId="ee49d124-f45d-41f8-8da5-9ab46192c709" providerId="ADAL" clId="{1AF8456F-1D09-4E5B-8683-1A80505D6EB4}" dt="2020-07-20T13:40:45.078" v="575"/>
        <pc:sldMkLst>
          <pc:docMk/>
          <pc:sldMk cId="3730717705" sldId="466"/>
        </pc:sldMkLst>
        <pc:spChg chg="add del mod">
          <ac:chgData name="stroe oana" userId="ee49d124-f45d-41f8-8da5-9ab46192c709" providerId="ADAL" clId="{1AF8456F-1D09-4E5B-8683-1A80505D6EB4}" dt="2020-07-20T13:25:14.579" v="396"/>
          <ac:spMkLst>
            <pc:docMk/>
            <pc:sldMk cId="3730717705" sldId="466"/>
            <ac:spMk id="7" creationId="{B33CF557-8BD9-40B9-9101-1CED35FC1046}"/>
          </ac:spMkLst>
        </pc:spChg>
        <pc:spChg chg="add del mod topLvl">
          <ac:chgData name="stroe oana" userId="ee49d124-f45d-41f8-8da5-9ab46192c709" providerId="ADAL" clId="{1AF8456F-1D09-4E5B-8683-1A80505D6EB4}" dt="2020-07-20T12:00:13.804" v="143" actId="207"/>
          <ac:spMkLst>
            <pc:docMk/>
            <pc:sldMk cId="3730717705" sldId="466"/>
            <ac:spMk id="13" creationId="{4D422F74-EFCE-4A8C-91E7-B11CECA00133}"/>
          </ac:spMkLst>
        </pc:spChg>
        <pc:spChg chg="mod topLvl">
          <ac:chgData name="stroe oana" userId="ee49d124-f45d-41f8-8da5-9ab46192c709" providerId="ADAL" clId="{1AF8456F-1D09-4E5B-8683-1A80505D6EB4}" dt="2020-07-20T13:30:31.637" v="437" actId="948"/>
          <ac:spMkLst>
            <pc:docMk/>
            <pc:sldMk cId="3730717705" sldId="466"/>
            <ac:spMk id="14" creationId="{8679C88B-A5F6-428C-BB4A-5FB75CA1E440}"/>
          </ac:spMkLst>
        </pc:spChg>
        <pc:spChg chg="mod">
          <ac:chgData name="stroe oana" userId="ee49d124-f45d-41f8-8da5-9ab46192c709" providerId="ADAL" clId="{1AF8456F-1D09-4E5B-8683-1A80505D6EB4}" dt="2020-07-20T13:13:35.050" v="321" actId="1037"/>
          <ac:spMkLst>
            <pc:docMk/>
            <pc:sldMk cId="3730717705" sldId="466"/>
            <ac:spMk id="16" creationId="{DD219031-3574-48AA-9C6E-1795162F2D16}"/>
          </ac:spMkLst>
        </pc:spChg>
        <pc:spChg chg="mod">
          <ac:chgData name="stroe oana" userId="ee49d124-f45d-41f8-8da5-9ab46192c709" providerId="ADAL" clId="{1AF8456F-1D09-4E5B-8683-1A80505D6EB4}" dt="2020-07-20T13:30:38.503" v="438" actId="948"/>
          <ac:spMkLst>
            <pc:docMk/>
            <pc:sldMk cId="3730717705" sldId="466"/>
            <ac:spMk id="17" creationId="{272B86B6-87EE-4925-81AB-7F898518EF3C}"/>
          </ac:spMkLst>
        </pc:spChg>
        <pc:spChg chg="mod">
          <ac:chgData name="stroe oana" userId="ee49d124-f45d-41f8-8da5-9ab46192c709" providerId="ADAL" clId="{1AF8456F-1D09-4E5B-8683-1A80505D6EB4}" dt="2020-07-20T12:00:10.586" v="142" actId="207"/>
          <ac:spMkLst>
            <pc:docMk/>
            <pc:sldMk cId="3730717705" sldId="466"/>
            <ac:spMk id="66" creationId="{A0ADE89A-5D69-4C09-840C-4E0CD6BE9368}"/>
          </ac:spMkLst>
        </pc:spChg>
        <pc:spChg chg="mod">
          <ac:chgData name="stroe oana" userId="ee49d124-f45d-41f8-8da5-9ab46192c709" providerId="ADAL" clId="{1AF8456F-1D09-4E5B-8683-1A80505D6EB4}" dt="2020-07-20T13:30:45.782" v="439" actId="948"/>
          <ac:spMkLst>
            <pc:docMk/>
            <pc:sldMk cId="3730717705" sldId="466"/>
            <ac:spMk id="67" creationId="{C027D01F-8962-4284-BB79-E6A9AC4D3A69}"/>
          </ac:spMkLst>
        </pc:spChg>
        <pc:spChg chg="mod">
          <ac:chgData name="stroe oana" userId="ee49d124-f45d-41f8-8da5-9ab46192c709" providerId="ADAL" clId="{1AF8456F-1D09-4E5B-8683-1A80505D6EB4}" dt="2020-07-20T13:10:53.354" v="273" actId="1035"/>
          <ac:spMkLst>
            <pc:docMk/>
            <pc:sldMk cId="3730717705" sldId="466"/>
            <ac:spMk id="69" creationId="{FE21EA12-230C-4505-8F06-053698CC41F0}"/>
          </ac:spMkLst>
        </pc:spChg>
        <pc:spChg chg="mod">
          <ac:chgData name="stroe oana" userId="ee49d124-f45d-41f8-8da5-9ab46192c709" providerId="ADAL" clId="{1AF8456F-1D09-4E5B-8683-1A80505D6EB4}" dt="2020-07-20T13:30:56.019" v="440" actId="948"/>
          <ac:spMkLst>
            <pc:docMk/>
            <pc:sldMk cId="3730717705" sldId="466"/>
            <ac:spMk id="70" creationId="{5785A253-E2D7-44A0-BF10-A7CEEB653FF7}"/>
          </ac:spMkLst>
        </pc:spChg>
        <pc:spChg chg="add del mod">
          <ac:chgData name="stroe oana" userId="ee49d124-f45d-41f8-8da5-9ab46192c709" providerId="ADAL" clId="{1AF8456F-1D09-4E5B-8683-1A80505D6EB4}" dt="2020-07-20T11:59:59.939" v="141" actId="478"/>
          <ac:spMkLst>
            <pc:docMk/>
            <pc:sldMk cId="3730717705" sldId="466"/>
            <ac:spMk id="101" creationId="{35E2211C-05EA-40DF-9313-827973DD6363}"/>
          </ac:spMkLst>
        </pc:spChg>
        <pc:grpChg chg="mod">
          <ac:chgData name="stroe oana" userId="ee49d124-f45d-41f8-8da5-9ab46192c709" providerId="ADAL" clId="{1AF8456F-1D09-4E5B-8683-1A80505D6EB4}" dt="2020-07-20T13:14:22.161" v="336" actId="1035"/>
          <ac:grpSpMkLst>
            <pc:docMk/>
            <pc:sldMk cId="3730717705" sldId="466"/>
            <ac:grpSpMk id="3" creationId="{BF7D4C3B-24A9-42D7-8B41-5BB4B97F0789}"/>
          </ac:grpSpMkLst>
        </pc:grpChg>
        <pc:grpChg chg="del">
          <ac:chgData name="stroe oana" userId="ee49d124-f45d-41f8-8da5-9ab46192c709" providerId="ADAL" clId="{1AF8456F-1D09-4E5B-8683-1A80505D6EB4}" dt="2020-07-20T11:57:58.751" v="108" actId="478"/>
          <ac:grpSpMkLst>
            <pc:docMk/>
            <pc:sldMk cId="3730717705" sldId="466"/>
            <ac:grpSpMk id="6" creationId="{266E64D3-7D93-4F6E-B2F8-00466B736D9C}"/>
          </ac:grpSpMkLst>
        </pc:grpChg>
        <pc:grpChg chg="add del mod">
          <ac:chgData name="stroe oana" userId="ee49d124-f45d-41f8-8da5-9ab46192c709" providerId="ADAL" clId="{1AF8456F-1D09-4E5B-8683-1A80505D6EB4}" dt="2020-07-20T13:10:19.013" v="264" actId="1037"/>
          <ac:grpSpMkLst>
            <pc:docMk/>
            <pc:sldMk cId="3730717705" sldId="466"/>
            <ac:grpSpMk id="12" creationId="{8C15E1DD-6004-4434-BAC0-A207D342A31C}"/>
          </ac:grpSpMkLst>
        </pc:grpChg>
        <pc:grpChg chg="mod">
          <ac:chgData name="stroe oana" userId="ee49d124-f45d-41f8-8da5-9ab46192c709" providerId="ADAL" clId="{1AF8456F-1D09-4E5B-8683-1A80505D6EB4}" dt="2020-07-20T13:10:19.013" v="264" actId="1037"/>
          <ac:grpSpMkLst>
            <pc:docMk/>
            <pc:sldMk cId="3730717705" sldId="466"/>
            <ac:grpSpMk id="15" creationId="{CA4D8F1C-A478-4359-861D-49AE5E0822A4}"/>
          </ac:grpSpMkLst>
        </pc:grpChg>
        <pc:grpChg chg="mod">
          <ac:chgData name="stroe oana" userId="ee49d124-f45d-41f8-8da5-9ab46192c709" providerId="ADAL" clId="{1AF8456F-1D09-4E5B-8683-1A80505D6EB4}" dt="2020-07-20T13:10:19.013" v="264" actId="1037"/>
          <ac:grpSpMkLst>
            <pc:docMk/>
            <pc:sldMk cId="3730717705" sldId="466"/>
            <ac:grpSpMk id="65" creationId="{C5A8DFBA-8ED5-40F6-8D7B-B5D49C07AD81}"/>
          </ac:grpSpMkLst>
        </pc:grpChg>
        <pc:grpChg chg="mod">
          <ac:chgData name="stroe oana" userId="ee49d124-f45d-41f8-8da5-9ab46192c709" providerId="ADAL" clId="{1AF8456F-1D09-4E5B-8683-1A80505D6EB4}" dt="2020-07-20T13:10:19.013" v="264" actId="1037"/>
          <ac:grpSpMkLst>
            <pc:docMk/>
            <pc:sldMk cId="3730717705" sldId="466"/>
            <ac:grpSpMk id="68" creationId="{60349335-A6D2-497B-9BA7-9874703BADA3}"/>
          </ac:grpSpMkLst>
        </pc:grpChg>
        <pc:grpChg chg="mod">
          <ac:chgData name="stroe oana" userId="ee49d124-f45d-41f8-8da5-9ab46192c709" providerId="ADAL" clId="{1AF8456F-1D09-4E5B-8683-1A80505D6EB4}" dt="2020-07-20T13:10:19.013" v="264" actId="1037"/>
          <ac:grpSpMkLst>
            <pc:docMk/>
            <pc:sldMk cId="3730717705" sldId="466"/>
            <ac:grpSpMk id="84" creationId="{6E2A6F62-D3CF-44CF-BA2F-E6F6029FEF9C}"/>
          </ac:grpSpMkLst>
        </pc:grpChg>
        <pc:grpChg chg="mod">
          <ac:chgData name="stroe oana" userId="ee49d124-f45d-41f8-8da5-9ab46192c709" providerId="ADAL" clId="{1AF8456F-1D09-4E5B-8683-1A80505D6EB4}" dt="2020-07-20T13:10:19.013" v="264" actId="1037"/>
          <ac:grpSpMkLst>
            <pc:docMk/>
            <pc:sldMk cId="3730717705" sldId="466"/>
            <ac:grpSpMk id="109" creationId="{5C518F28-9EEA-4054-9E02-6189E5D1CACE}"/>
          </ac:grpSpMkLst>
        </pc:grpChg>
        <pc:grpChg chg="del">
          <ac:chgData name="stroe oana" userId="ee49d124-f45d-41f8-8da5-9ab46192c709" providerId="ADAL" clId="{1AF8456F-1D09-4E5B-8683-1A80505D6EB4}" dt="2020-07-20T11:58:05.569" v="110" actId="478"/>
          <ac:grpSpMkLst>
            <pc:docMk/>
            <pc:sldMk cId="3730717705" sldId="466"/>
            <ac:grpSpMk id="173" creationId="{0F46C303-DED6-4169-8140-148355F5DE34}"/>
          </ac:grpSpMkLst>
        </pc:grpChg>
        <pc:grpChg chg="del">
          <ac:chgData name="stroe oana" userId="ee49d124-f45d-41f8-8da5-9ab46192c709" providerId="ADAL" clId="{1AF8456F-1D09-4E5B-8683-1A80505D6EB4}" dt="2020-07-20T11:58:02.942" v="109" actId="478"/>
          <ac:grpSpMkLst>
            <pc:docMk/>
            <pc:sldMk cId="3730717705" sldId="466"/>
            <ac:grpSpMk id="176" creationId="{0D5D0EA3-37F7-45A7-A167-331F2AAC87AF}"/>
          </ac:grpSpMkLst>
        </pc:grpChg>
        <pc:grpChg chg="del">
          <ac:chgData name="stroe oana" userId="ee49d124-f45d-41f8-8da5-9ab46192c709" providerId="ADAL" clId="{1AF8456F-1D09-4E5B-8683-1A80505D6EB4}" dt="2020-07-20T11:58:08.116" v="111" actId="478"/>
          <ac:grpSpMkLst>
            <pc:docMk/>
            <pc:sldMk cId="3730717705" sldId="466"/>
            <ac:grpSpMk id="179" creationId="{40A08241-8616-4E7E-A63C-E2D85E6EA48B}"/>
          </ac:grpSpMkLst>
        </pc:grpChg>
        <pc:picChg chg="mod">
          <ac:chgData name="stroe oana" userId="ee49d124-f45d-41f8-8da5-9ab46192c709" providerId="ADAL" clId="{1AF8456F-1D09-4E5B-8683-1A80505D6EB4}" dt="2020-07-20T13:10:19.013" v="264" actId="1037"/>
          <ac:picMkLst>
            <pc:docMk/>
            <pc:sldMk cId="3730717705" sldId="466"/>
            <ac:picMk id="2" creationId="{14857AF9-DE68-45F2-BF9E-CF4BCA659FBD}"/>
          </ac:picMkLst>
        </pc:picChg>
        <pc:picChg chg="add mod">
          <ac:chgData name="stroe oana" userId="ee49d124-f45d-41f8-8da5-9ab46192c709" providerId="ADAL" clId="{1AF8456F-1D09-4E5B-8683-1A80505D6EB4}" dt="2020-07-20T13:25:19.571" v="397" actId="1076"/>
          <ac:picMkLst>
            <pc:docMk/>
            <pc:sldMk cId="3730717705" sldId="466"/>
            <ac:picMk id="8" creationId="{1D20C512-ADC7-4FD1-93F7-621AB4CFF93C}"/>
          </ac:picMkLst>
        </pc:picChg>
        <pc:picChg chg="del">
          <ac:chgData name="stroe oana" userId="ee49d124-f45d-41f8-8da5-9ab46192c709" providerId="ADAL" clId="{1AF8456F-1D09-4E5B-8683-1A80505D6EB4}" dt="2020-07-20T13:24:38.347" v="395" actId="478"/>
          <ac:picMkLst>
            <pc:docMk/>
            <pc:sldMk cId="3730717705" sldId="466"/>
            <ac:picMk id="22" creationId="{2BD24F15-A962-4274-BF4A-568225D1EA45}"/>
          </ac:picMkLst>
        </pc:picChg>
        <pc:picChg chg="add del mod">
          <ac:chgData name="stroe oana" userId="ee49d124-f45d-41f8-8da5-9ab46192c709" providerId="ADAL" clId="{1AF8456F-1D09-4E5B-8683-1A80505D6EB4}" dt="2020-07-20T11:59:11.827" v="117" actId="478"/>
          <ac:picMkLst>
            <pc:docMk/>
            <pc:sldMk cId="3730717705" sldId="466"/>
            <ac:picMk id="83" creationId="{4FCB4016-6FE9-4616-8375-E5D21529C98D}"/>
          </ac:picMkLst>
        </pc:picChg>
        <pc:cxnChg chg="add mod">
          <ac:chgData name="stroe oana" userId="ee49d124-f45d-41f8-8da5-9ab46192c709" providerId="ADAL" clId="{1AF8456F-1D09-4E5B-8683-1A80505D6EB4}" dt="2020-07-20T13:11:05.299" v="277" actId="14100"/>
          <ac:cxnSpMkLst>
            <pc:docMk/>
            <pc:sldMk cId="3730717705" sldId="466"/>
            <ac:cxnSpMk id="102" creationId="{E1483735-8C0C-436E-9B05-7D94479A2DB4}"/>
          </ac:cxnSpMkLst>
        </pc:cxnChg>
        <pc:cxnChg chg="add mod">
          <ac:chgData name="stroe oana" userId="ee49d124-f45d-41f8-8da5-9ab46192c709" providerId="ADAL" clId="{1AF8456F-1D09-4E5B-8683-1A80505D6EB4}" dt="2020-07-20T13:11:05.299" v="277" actId="14100"/>
          <ac:cxnSpMkLst>
            <pc:docMk/>
            <pc:sldMk cId="3730717705" sldId="466"/>
            <ac:cxnSpMk id="103" creationId="{7C0BA86D-F1E2-4946-AF01-E3481ECD3075}"/>
          </ac:cxnSpMkLst>
        </pc:cxnChg>
        <pc:cxnChg chg="add mod">
          <ac:chgData name="stroe oana" userId="ee49d124-f45d-41f8-8da5-9ab46192c709" providerId="ADAL" clId="{1AF8456F-1D09-4E5B-8683-1A80505D6EB4}" dt="2020-07-20T13:11:05.299" v="277" actId="14100"/>
          <ac:cxnSpMkLst>
            <pc:docMk/>
            <pc:sldMk cId="3730717705" sldId="466"/>
            <ac:cxnSpMk id="104" creationId="{2D1ED164-4275-4387-AC41-E2D0570C9687}"/>
          </ac:cxnSpMkLst>
        </pc:cxnChg>
        <pc:cxnChg chg="add mod">
          <ac:chgData name="stroe oana" userId="ee49d124-f45d-41f8-8da5-9ab46192c709" providerId="ADAL" clId="{1AF8456F-1D09-4E5B-8683-1A80505D6EB4}" dt="2020-07-20T13:11:05.299" v="277" actId="14100"/>
          <ac:cxnSpMkLst>
            <pc:docMk/>
            <pc:sldMk cId="3730717705" sldId="466"/>
            <ac:cxnSpMk id="141" creationId="{BC45F44C-BA9F-479F-9D1B-6C6D0589527A}"/>
          </ac:cxnSpMkLst>
        </pc:cxnChg>
      </pc:sldChg>
      <pc:sldChg chg="addSp delSp modSp">
        <pc:chgData name="stroe oana" userId="ee49d124-f45d-41f8-8da5-9ab46192c709" providerId="ADAL" clId="{1AF8456F-1D09-4E5B-8683-1A80505D6EB4}" dt="2020-07-20T13:51:01.582" v="667" actId="1036"/>
        <pc:sldMkLst>
          <pc:docMk/>
          <pc:sldMk cId="3817340649" sldId="477"/>
        </pc:sldMkLst>
        <pc:spChg chg="mod">
          <ac:chgData name="stroe oana" userId="ee49d124-f45d-41f8-8da5-9ab46192c709" providerId="ADAL" clId="{1AF8456F-1D09-4E5B-8683-1A80505D6EB4}" dt="2020-07-20T13:51:01.582" v="667" actId="1036"/>
          <ac:spMkLst>
            <pc:docMk/>
            <pc:sldMk cId="3817340649" sldId="477"/>
            <ac:spMk id="36" creationId="{00000000-0000-0000-0000-000000000000}"/>
          </ac:spMkLst>
        </pc:spChg>
        <pc:graphicFrameChg chg="mod modGraphic">
          <ac:chgData name="stroe oana" userId="ee49d124-f45d-41f8-8da5-9ab46192c709" providerId="ADAL" clId="{1AF8456F-1D09-4E5B-8683-1A80505D6EB4}" dt="2020-07-20T13:51:01.582" v="667" actId="1036"/>
          <ac:graphicFrameMkLst>
            <pc:docMk/>
            <pc:sldMk cId="3817340649" sldId="477"/>
            <ac:graphicFrameMk id="6" creationId="{00000000-0000-0000-0000-000000000000}"/>
          </ac:graphicFrameMkLst>
        </pc:graphicFrameChg>
        <pc:picChg chg="add 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7" creationId="{66CFD6A3-D765-45F3-8470-2DC8E221CFE1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19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20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21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28" creationId="{00000000-0000-0000-0000-000000000000}"/>
          </ac:picMkLst>
        </pc:picChg>
        <pc:picChg chg="add del mod">
          <ac:chgData name="stroe oana" userId="ee49d124-f45d-41f8-8da5-9ab46192c709" providerId="ADAL" clId="{1AF8456F-1D09-4E5B-8683-1A80505D6EB4}" dt="2020-07-20T13:49:06.757" v="633" actId="478"/>
          <ac:picMkLst>
            <pc:docMk/>
            <pc:sldMk cId="3817340649" sldId="477"/>
            <ac:picMk id="35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37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38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39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40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42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43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3:51:01.582" v="667" actId="1036"/>
          <ac:picMkLst>
            <pc:docMk/>
            <pc:sldMk cId="3817340649" sldId="477"/>
            <ac:picMk id="12290" creationId="{00000000-0000-0000-0000-000000000000}"/>
          </ac:picMkLst>
        </pc:picChg>
        <pc:cxnChg chg="add mod">
          <ac:chgData name="stroe oana" userId="ee49d124-f45d-41f8-8da5-9ab46192c709" providerId="ADAL" clId="{1AF8456F-1D09-4E5B-8683-1A80505D6EB4}" dt="2020-07-20T13:51:01.582" v="667" actId="1036"/>
          <ac:cxnSpMkLst>
            <pc:docMk/>
            <pc:sldMk cId="3817340649" sldId="477"/>
            <ac:cxnSpMk id="18" creationId="{F36142C4-E88B-490E-BC5C-1451A14EDFB7}"/>
          </ac:cxnSpMkLst>
        </pc:cxnChg>
        <pc:cxnChg chg="add mod">
          <ac:chgData name="stroe oana" userId="ee49d124-f45d-41f8-8da5-9ab46192c709" providerId="ADAL" clId="{1AF8456F-1D09-4E5B-8683-1A80505D6EB4}" dt="2020-07-20T13:51:01.582" v="667" actId="1036"/>
          <ac:cxnSpMkLst>
            <pc:docMk/>
            <pc:sldMk cId="3817340649" sldId="477"/>
            <ac:cxnSpMk id="22" creationId="{502C5419-1E0B-46D5-A174-36B779275F55}"/>
          </ac:cxnSpMkLst>
        </pc:cxnChg>
      </pc:sldChg>
      <pc:sldChg chg="del">
        <pc:chgData name="stroe oana" userId="ee49d124-f45d-41f8-8da5-9ab46192c709" providerId="ADAL" clId="{1AF8456F-1D09-4E5B-8683-1A80505D6EB4}" dt="2020-07-20T13:33:44.748" v="483" actId="2696"/>
        <pc:sldMkLst>
          <pc:docMk/>
          <pc:sldMk cId="784723946" sldId="479"/>
        </pc:sldMkLst>
      </pc:sldChg>
      <pc:sldChg chg="addSp delSp modSp">
        <pc:chgData name="stroe oana" userId="ee49d124-f45d-41f8-8da5-9ab46192c709" providerId="ADAL" clId="{1AF8456F-1D09-4E5B-8683-1A80505D6EB4}" dt="2020-07-20T13:33:08.183" v="482" actId="1037"/>
        <pc:sldMkLst>
          <pc:docMk/>
          <pc:sldMk cId="1736854488" sldId="480"/>
        </pc:sldMkLst>
        <pc:spChg chg="del">
          <ac:chgData name="stroe oana" userId="ee49d124-f45d-41f8-8da5-9ab46192c709" providerId="ADAL" clId="{1AF8456F-1D09-4E5B-8683-1A80505D6EB4}" dt="2020-07-20T13:31:46.238" v="446"/>
          <ac:spMkLst>
            <pc:docMk/>
            <pc:sldMk cId="1736854488" sldId="480"/>
            <ac:spMk id="2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3:32:31.450" v="471" actId="403"/>
          <ac:spMkLst>
            <pc:docMk/>
            <pc:sldMk cId="1736854488" sldId="480"/>
            <ac:spMk id="3" creationId="{00000000-0000-0000-0000-000000000000}"/>
          </ac:spMkLst>
        </pc:spChg>
        <pc:spChg chg="add mod">
          <ac:chgData name="stroe oana" userId="ee49d124-f45d-41f8-8da5-9ab46192c709" providerId="ADAL" clId="{1AF8456F-1D09-4E5B-8683-1A80505D6EB4}" dt="2020-07-20T13:32:28.387" v="470" actId="14100"/>
          <ac:spMkLst>
            <pc:docMk/>
            <pc:sldMk cId="1736854488" sldId="480"/>
            <ac:spMk id="5" creationId="{AB724012-42D8-4011-8241-2487717DDB6A}"/>
          </ac:spMkLst>
        </pc:spChg>
        <pc:spChg chg="add del mod">
          <ac:chgData name="stroe oana" userId="ee49d124-f45d-41f8-8da5-9ab46192c709" providerId="ADAL" clId="{1AF8456F-1D09-4E5B-8683-1A80505D6EB4}" dt="2020-07-20T13:31:57.440" v="449" actId="478"/>
          <ac:spMkLst>
            <pc:docMk/>
            <pc:sldMk cId="1736854488" sldId="480"/>
            <ac:spMk id="6" creationId="{BC53FE3E-BE9E-4689-A6D2-C4114CFE0074}"/>
          </ac:spMkLst>
        </pc:spChg>
        <pc:spChg chg="add mod">
          <ac:chgData name="stroe oana" userId="ee49d124-f45d-41f8-8da5-9ab46192c709" providerId="ADAL" clId="{1AF8456F-1D09-4E5B-8683-1A80505D6EB4}" dt="2020-07-20T13:31:46.238" v="446"/>
          <ac:spMkLst>
            <pc:docMk/>
            <pc:sldMk cId="1736854488" sldId="480"/>
            <ac:spMk id="7" creationId="{C9A19525-19F1-46F3-AB60-123F8AB8AA35}"/>
          </ac:spMkLst>
        </pc:spChg>
        <pc:spChg chg="add del mod">
          <ac:chgData name="stroe oana" userId="ee49d124-f45d-41f8-8da5-9ab46192c709" providerId="ADAL" clId="{1AF8456F-1D09-4E5B-8683-1A80505D6EB4}" dt="2020-07-20T13:32:10.938" v="454" actId="478"/>
          <ac:spMkLst>
            <pc:docMk/>
            <pc:sldMk cId="1736854488" sldId="480"/>
            <ac:spMk id="8" creationId="{79C5A53D-94A6-4864-8E07-4FBBD73AA2EA}"/>
          </ac:spMkLst>
        </pc:spChg>
        <pc:spChg chg="add del mod">
          <ac:chgData name="stroe oana" userId="ee49d124-f45d-41f8-8da5-9ab46192c709" providerId="ADAL" clId="{1AF8456F-1D09-4E5B-8683-1A80505D6EB4}" dt="2020-07-20T13:17:02.830" v="363" actId="14100"/>
          <ac:spMkLst>
            <pc:docMk/>
            <pc:sldMk cId="1736854488" sldId="480"/>
            <ac:spMk id="9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3:32:42.901" v="472" actId="207"/>
          <ac:spMkLst>
            <pc:docMk/>
            <pc:sldMk cId="1736854488" sldId="480"/>
            <ac:spMk id="10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3:17:09.628" v="364" actId="164"/>
          <ac:spMkLst>
            <pc:docMk/>
            <pc:sldMk cId="1736854488" sldId="480"/>
            <ac:spMk id="11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3:17:09.628" v="364" actId="164"/>
          <ac:spMkLst>
            <pc:docMk/>
            <pc:sldMk cId="1736854488" sldId="480"/>
            <ac:spMk id="13" creationId="{00000000-0000-0000-0000-000000000000}"/>
          </ac:spMkLst>
        </pc:spChg>
        <pc:spChg chg="add del mod ord">
          <ac:chgData name="stroe oana" userId="ee49d124-f45d-41f8-8da5-9ab46192c709" providerId="ADAL" clId="{1AF8456F-1D09-4E5B-8683-1A80505D6EB4}" dt="2020-07-20T13:16:33.811" v="355" actId="167"/>
          <ac:spMkLst>
            <pc:docMk/>
            <pc:sldMk cId="1736854488" sldId="480"/>
            <ac:spMk id="18" creationId="{07BE614D-A1A7-41CD-ADBF-1D22F92AB209}"/>
          </ac:spMkLst>
        </pc:spChg>
        <pc:spChg chg="mod">
          <ac:chgData name="stroe oana" userId="ee49d124-f45d-41f8-8da5-9ab46192c709" providerId="ADAL" clId="{1AF8456F-1D09-4E5B-8683-1A80505D6EB4}" dt="2020-07-20T13:17:09.628" v="364" actId="164"/>
          <ac:spMkLst>
            <pc:docMk/>
            <pc:sldMk cId="1736854488" sldId="480"/>
            <ac:spMk id="22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3:17:09.628" v="364" actId="164"/>
          <ac:spMkLst>
            <pc:docMk/>
            <pc:sldMk cId="1736854488" sldId="480"/>
            <ac:spMk id="26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3:33:00.847" v="479" actId="1038"/>
          <ac:spMkLst>
            <pc:docMk/>
            <pc:sldMk cId="1736854488" sldId="480"/>
            <ac:spMk id="68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3:32:54.127" v="474" actId="14100"/>
          <ac:spMkLst>
            <pc:docMk/>
            <pc:sldMk cId="1736854488" sldId="480"/>
            <ac:spMk id="69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3:33:08.183" v="482" actId="1037"/>
          <ac:spMkLst>
            <pc:docMk/>
            <pc:sldMk cId="1736854488" sldId="480"/>
            <ac:spMk id="71" creationId="{00000000-0000-0000-0000-000000000000}"/>
          </ac:spMkLst>
        </pc:spChg>
        <pc:grpChg chg="add mod">
          <ac:chgData name="stroe oana" userId="ee49d124-f45d-41f8-8da5-9ab46192c709" providerId="ADAL" clId="{1AF8456F-1D09-4E5B-8683-1A80505D6EB4}" dt="2020-07-20T13:17:13.494" v="365" actId="14100"/>
          <ac:grpSpMkLst>
            <pc:docMk/>
            <pc:sldMk cId="1736854488" sldId="480"/>
            <ac:grpSpMk id="4" creationId="{8F12CD40-EAA7-46A3-AB62-D2A4170006E2}"/>
          </ac:grpSpMkLst>
        </pc:grpChg>
        <pc:picChg chg="add mod ord">
          <ac:chgData name="stroe oana" userId="ee49d124-f45d-41f8-8da5-9ab46192c709" providerId="ADAL" clId="{1AF8456F-1D09-4E5B-8683-1A80505D6EB4}" dt="2020-07-20T13:17:35.164" v="372" actId="14100"/>
          <ac:picMkLst>
            <pc:docMk/>
            <pc:sldMk cId="1736854488" sldId="480"/>
            <ac:picMk id="19" creationId="{B638456E-199E-4E54-9102-FFAA9E43526D}"/>
          </ac:picMkLst>
        </pc:picChg>
        <pc:picChg chg="add del mod">
          <ac:chgData name="stroe oana" userId="ee49d124-f45d-41f8-8da5-9ab46192c709" providerId="ADAL" clId="{1AF8456F-1D09-4E5B-8683-1A80505D6EB4}" dt="2020-07-20T13:16:28.212" v="353" actId="478"/>
          <ac:picMkLst>
            <pc:docMk/>
            <pc:sldMk cId="1736854488" sldId="480"/>
            <ac:picMk id="20" creationId="{8F23290F-87BB-4141-BAE5-0F455FC61B87}"/>
          </ac:picMkLst>
        </pc:picChg>
        <pc:cxnChg chg="mod">
          <ac:chgData name="stroe oana" userId="ee49d124-f45d-41f8-8da5-9ab46192c709" providerId="ADAL" clId="{1AF8456F-1D09-4E5B-8683-1A80505D6EB4}" dt="2020-07-20T13:17:09.628" v="364" actId="164"/>
          <ac:cxnSpMkLst>
            <pc:docMk/>
            <pc:sldMk cId="1736854488" sldId="480"/>
            <ac:cxnSpMk id="23" creationId="{00000000-0000-0000-0000-000000000000}"/>
          </ac:cxnSpMkLst>
        </pc:cxnChg>
        <pc:cxnChg chg="mod">
          <ac:chgData name="stroe oana" userId="ee49d124-f45d-41f8-8da5-9ab46192c709" providerId="ADAL" clId="{1AF8456F-1D09-4E5B-8683-1A80505D6EB4}" dt="2020-07-20T13:17:09.628" v="364" actId="164"/>
          <ac:cxnSpMkLst>
            <pc:docMk/>
            <pc:sldMk cId="1736854488" sldId="480"/>
            <ac:cxnSpMk id="24" creationId="{00000000-0000-0000-0000-000000000000}"/>
          </ac:cxnSpMkLst>
        </pc:cxnChg>
        <pc:cxnChg chg="mod">
          <ac:chgData name="stroe oana" userId="ee49d124-f45d-41f8-8da5-9ab46192c709" providerId="ADAL" clId="{1AF8456F-1D09-4E5B-8683-1A80505D6EB4}" dt="2020-07-20T13:17:09.628" v="364" actId="164"/>
          <ac:cxnSpMkLst>
            <pc:docMk/>
            <pc:sldMk cId="1736854488" sldId="480"/>
            <ac:cxnSpMk id="29" creationId="{00000000-0000-0000-0000-000000000000}"/>
          </ac:cxnSpMkLst>
        </pc:cxnChg>
      </pc:sldChg>
      <pc:sldChg chg="add del">
        <pc:chgData name="stroe oana" userId="ee49d124-f45d-41f8-8da5-9ab46192c709" providerId="ADAL" clId="{1AF8456F-1D09-4E5B-8683-1A80505D6EB4}" dt="2020-07-20T14:24:04.886" v="1126" actId="2696"/>
        <pc:sldMkLst>
          <pc:docMk/>
          <pc:sldMk cId="3335464963" sldId="487"/>
        </pc:sldMkLst>
      </pc:sldChg>
      <pc:sldChg chg="modSp del">
        <pc:chgData name="stroe oana" userId="ee49d124-f45d-41f8-8da5-9ab46192c709" providerId="ADAL" clId="{1AF8456F-1D09-4E5B-8683-1A80505D6EB4}" dt="2020-07-20T11:56:55.761" v="82" actId="2696"/>
        <pc:sldMkLst>
          <pc:docMk/>
          <pc:sldMk cId="2541206671" sldId="502"/>
        </pc:sldMkLst>
        <pc:spChg chg="mod">
          <ac:chgData name="stroe oana" userId="ee49d124-f45d-41f8-8da5-9ab46192c709" providerId="ADAL" clId="{1AF8456F-1D09-4E5B-8683-1A80505D6EB4}" dt="2020-07-20T11:56:05.395" v="78" actId="6549"/>
          <ac:spMkLst>
            <pc:docMk/>
            <pc:sldMk cId="2541206671" sldId="502"/>
            <ac:spMk id="17" creationId="{0A91E2A9-0BF3-454E-8900-754FEFB251B0}"/>
          </ac:spMkLst>
        </pc:spChg>
      </pc:sldChg>
      <pc:sldChg chg="modSp">
        <pc:chgData name="stroe oana" userId="ee49d124-f45d-41f8-8da5-9ab46192c709" providerId="ADAL" clId="{1AF8456F-1D09-4E5B-8683-1A80505D6EB4}" dt="2020-07-20T11:55:35.526" v="77" actId="1035"/>
        <pc:sldMkLst>
          <pc:docMk/>
          <pc:sldMk cId="4240795062" sldId="791"/>
        </pc:sldMkLst>
        <pc:spChg chg="mod">
          <ac:chgData name="stroe oana" userId="ee49d124-f45d-41f8-8da5-9ab46192c709" providerId="ADAL" clId="{1AF8456F-1D09-4E5B-8683-1A80505D6EB4}" dt="2020-07-20T11:55:31.556" v="75" actId="1076"/>
          <ac:spMkLst>
            <pc:docMk/>
            <pc:sldMk cId="4240795062" sldId="791"/>
            <ac:spMk id="3" creationId="{352D7896-A898-4633-B312-A671F9931F2B}"/>
          </ac:spMkLst>
        </pc:spChg>
        <pc:spChg chg="mod">
          <ac:chgData name="stroe oana" userId="ee49d124-f45d-41f8-8da5-9ab46192c709" providerId="ADAL" clId="{1AF8456F-1D09-4E5B-8683-1A80505D6EB4}" dt="2020-07-20T11:52:42.285" v="38" actId="20577"/>
          <ac:spMkLst>
            <pc:docMk/>
            <pc:sldMk cId="4240795062" sldId="791"/>
            <ac:spMk id="5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1:54:53.140" v="68" actId="12"/>
          <ac:spMkLst>
            <pc:docMk/>
            <pc:sldMk cId="4240795062" sldId="791"/>
            <ac:spMk id="8" creationId="{B5073C04-E21C-4C39-B727-E5869D7DC29A}"/>
          </ac:spMkLst>
        </pc:spChg>
        <pc:spChg chg="mod">
          <ac:chgData name="stroe oana" userId="ee49d124-f45d-41f8-8da5-9ab46192c709" providerId="ADAL" clId="{1AF8456F-1D09-4E5B-8683-1A80505D6EB4}" dt="2020-07-20T11:55:35.526" v="77" actId="1035"/>
          <ac:spMkLst>
            <pc:docMk/>
            <pc:sldMk cId="4240795062" sldId="791"/>
            <ac:spMk id="49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1:55:35.526" v="77" actId="1035"/>
          <ac:spMkLst>
            <pc:docMk/>
            <pc:sldMk cId="4240795062" sldId="791"/>
            <ac:spMk id="50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1:55:35.526" v="77" actId="1035"/>
          <ac:spMkLst>
            <pc:docMk/>
            <pc:sldMk cId="4240795062" sldId="791"/>
            <ac:spMk id="51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1:55:35.526" v="77" actId="1035"/>
          <ac:spMkLst>
            <pc:docMk/>
            <pc:sldMk cId="4240795062" sldId="791"/>
            <ac:spMk id="52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1:55:35.526" v="77" actId="1035"/>
          <ac:spMkLst>
            <pc:docMk/>
            <pc:sldMk cId="4240795062" sldId="791"/>
            <ac:spMk id="53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1:55:35.526" v="77" actId="1035"/>
          <ac:spMkLst>
            <pc:docMk/>
            <pc:sldMk cId="4240795062" sldId="791"/>
            <ac:spMk id="54" creationId="{00000000-0000-0000-0000-000000000000}"/>
          </ac:spMkLst>
        </pc:spChg>
        <pc:picChg chg="mod">
          <ac:chgData name="stroe oana" userId="ee49d124-f45d-41f8-8da5-9ab46192c709" providerId="ADAL" clId="{1AF8456F-1D09-4E5B-8683-1A80505D6EB4}" dt="2020-07-20T11:55:35.526" v="77" actId="1035"/>
          <ac:picMkLst>
            <pc:docMk/>
            <pc:sldMk cId="4240795062" sldId="791"/>
            <ac:picMk id="33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1:55:35.526" v="77" actId="1035"/>
          <ac:picMkLst>
            <pc:docMk/>
            <pc:sldMk cId="4240795062" sldId="791"/>
            <ac:picMk id="45" creationId="{C8499D5E-D0C4-4641-8ED5-65AFB6E318A9}"/>
          </ac:picMkLst>
        </pc:picChg>
        <pc:picChg chg="mod">
          <ac:chgData name="stroe oana" userId="ee49d124-f45d-41f8-8da5-9ab46192c709" providerId="ADAL" clId="{1AF8456F-1D09-4E5B-8683-1A80505D6EB4}" dt="2020-07-20T11:55:35.526" v="77" actId="1035"/>
          <ac:picMkLst>
            <pc:docMk/>
            <pc:sldMk cId="4240795062" sldId="791"/>
            <ac:picMk id="46" creationId="{E395E638-8540-4109-A2AB-8B14F63D02A0}"/>
          </ac:picMkLst>
        </pc:picChg>
        <pc:cxnChg chg="mod">
          <ac:chgData name="stroe oana" userId="ee49d124-f45d-41f8-8da5-9ab46192c709" providerId="ADAL" clId="{1AF8456F-1D09-4E5B-8683-1A80505D6EB4}" dt="2020-07-20T11:55:35.526" v="77" actId="1035"/>
          <ac:cxnSpMkLst>
            <pc:docMk/>
            <pc:sldMk cId="4240795062" sldId="791"/>
            <ac:cxnSpMk id="17" creationId="{F9277990-B117-4B7D-B720-5F6F317D9405}"/>
          </ac:cxnSpMkLst>
        </pc:cxnChg>
        <pc:cxnChg chg="mod">
          <ac:chgData name="stroe oana" userId="ee49d124-f45d-41f8-8da5-9ab46192c709" providerId="ADAL" clId="{1AF8456F-1D09-4E5B-8683-1A80505D6EB4}" dt="2020-07-20T11:55:35.526" v="77" actId="1035"/>
          <ac:cxnSpMkLst>
            <pc:docMk/>
            <pc:sldMk cId="4240795062" sldId="791"/>
            <ac:cxnSpMk id="18" creationId="{1A497535-5A19-475D-BB89-C53890117AEB}"/>
          </ac:cxnSpMkLst>
        </pc:cxnChg>
        <pc:cxnChg chg="mod">
          <ac:chgData name="stroe oana" userId="ee49d124-f45d-41f8-8da5-9ab46192c709" providerId="ADAL" clId="{1AF8456F-1D09-4E5B-8683-1A80505D6EB4}" dt="2020-07-20T11:55:35.526" v="77" actId="1035"/>
          <ac:cxnSpMkLst>
            <pc:docMk/>
            <pc:sldMk cId="4240795062" sldId="791"/>
            <ac:cxnSpMk id="19" creationId="{6CC99ADD-792E-4992-B3F4-9DD61BF75828}"/>
          </ac:cxnSpMkLst>
        </pc:cxnChg>
      </pc:sldChg>
      <pc:sldChg chg="modSp add del">
        <pc:chgData name="stroe oana" userId="ee49d124-f45d-41f8-8da5-9ab46192c709" providerId="ADAL" clId="{1AF8456F-1D09-4E5B-8683-1A80505D6EB4}" dt="2020-07-20T13:40:24.692" v="574" actId="2696"/>
        <pc:sldMkLst>
          <pc:docMk/>
          <pc:sldMk cId="2188152688" sldId="1184"/>
        </pc:sldMkLst>
        <pc:spChg chg="mod">
          <ac:chgData name="stroe oana" userId="ee49d124-f45d-41f8-8da5-9ab46192c709" providerId="ADAL" clId="{1AF8456F-1D09-4E5B-8683-1A80505D6EB4}" dt="2020-07-20T13:40:05.495" v="573" actId="20577"/>
          <ac:spMkLst>
            <pc:docMk/>
            <pc:sldMk cId="2188152688" sldId="1184"/>
            <ac:spMk id="15" creationId="{EDF17137-EA12-4E6E-B859-1BDDCB093C50}"/>
          </ac:spMkLst>
        </pc:spChg>
      </pc:sldChg>
      <pc:sldChg chg="del">
        <pc:chgData name="stroe oana" userId="ee49d124-f45d-41f8-8da5-9ab46192c709" providerId="ADAL" clId="{1AF8456F-1D09-4E5B-8683-1A80505D6EB4}" dt="2020-07-20T13:35:04.001" v="491" actId="2696"/>
        <pc:sldMkLst>
          <pc:docMk/>
          <pc:sldMk cId="3279091657" sldId="1187"/>
        </pc:sldMkLst>
      </pc:sldChg>
      <pc:sldChg chg="modSp setBg">
        <pc:chgData name="stroe oana" userId="ee49d124-f45d-41f8-8da5-9ab46192c709" providerId="ADAL" clId="{1AF8456F-1D09-4E5B-8683-1A80505D6EB4}" dt="2020-07-20T13:35:29.827" v="493" actId="108"/>
        <pc:sldMkLst>
          <pc:docMk/>
          <pc:sldMk cId="132220875" sldId="1209"/>
        </pc:sldMkLst>
        <pc:spChg chg="mod">
          <ac:chgData name="stroe oana" userId="ee49d124-f45d-41f8-8da5-9ab46192c709" providerId="ADAL" clId="{1AF8456F-1D09-4E5B-8683-1A80505D6EB4}" dt="2020-07-20T13:35:29.827" v="493" actId="108"/>
          <ac:spMkLst>
            <pc:docMk/>
            <pc:sldMk cId="132220875" sldId="1209"/>
            <ac:spMk id="17" creationId="{0A91E2A9-0BF3-454E-8900-754FEFB251B0}"/>
          </ac:spMkLst>
        </pc:spChg>
      </pc:sldChg>
      <pc:sldChg chg="addSp delSp modSp ord">
        <pc:chgData name="stroe oana" userId="ee49d124-f45d-41f8-8da5-9ab46192c709" providerId="ADAL" clId="{1AF8456F-1D09-4E5B-8683-1A80505D6EB4}" dt="2020-07-20T13:28:37.531" v="419" actId="20577"/>
        <pc:sldMkLst>
          <pc:docMk/>
          <pc:sldMk cId="2370781133" sldId="1217"/>
        </pc:sldMkLst>
        <pc:spChg chg="mod">
          <ac:chgData name="stroe oana" userId="ee49d124-f45d-41f8-8da5-9ab46192c709" providerId="ADAL" clId="{1AF8456F-1D09-4E5B-8683-1A80505D6EB4}" dt="2020-07-20T13:07:52.783" v="201" actId="1076"/>
          <ac:spMkLst>
            <pc:docMk/>
            <pc:sldMk cId="2370781133" sldId="1217"/>
            <ac:spMk id="4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3:28:37.531" v="419" actId="20577"/>
          <ac:spMkLst>
            <pc:docMk/>
            <pc:sldMk cId="2370781133" sldId="1217"/>
            <ac:spMk id="19" creationId="{00000000-0000-0000-0000-000000000000}"/>
          </ac:spMkLst>
        </pc:spChg>
        <pc:spChg chg="del mod">
          <ac:chgData name="stroe oana" userId="ee49d124-f45d-41f8-8da5-9ab46192c709" providerId="ADAL" clId="{1AF8456F-1D09-4E5B-8683-1A80505D6EB4}" dt="2020-07-20T13:06:36.718" v="168" actId="478"/>
          <ac:spMkLst>
            <pc:docMk/>
            <pc:sldMk cId="2370781133" sldId="1217"/>
            <ac:spMk id="20" creationId="{00000000-0000-0000-0000-000000000000}"/>
          </ac:spMkLst>
        </pc:spChg>
        <pc:spChg chg="add mod ord">
          <ac:chgData name="stroe oana" userId="ee49d124-f45d-41f8-8da5-9ab46192c709" providerId="ADAL" clId="{1AF8456F-1D09-4E5B-8683-1A80505D6EB4}" dt="2020-07-20T13:06:55.028" v="192" actId="14100"/>
          <ac:spMkLst>
            <pc:docMk/>
            <pc:sldMk cId="2370781133" sldId="1217"/>
            <ac:spMk id="233" creationId="{F375F94B-1F3C-46D7-9C83-EC3BED26C4BC}"/>
          </ac:spMkLst>
        </pc:spChg>
        <pc:picChg chg="add mod ord">
          <ac:chgData name="stroe oana" userId="ee49d124-f45d-41f8-8da5-9ab46192c709" providerId="ADAL" clId="{1AF8456F-1D09-4E5B-8683-1A80505D6EB4}" dt="2020-07-20T13:15:08.327" v="339" actId="14100"/>
          <ac:picMkLst>
            <pc:docMk/>
            <pc:sldMk cId="2370781133" sldId="1217"/>
            <ac:picMk id="231" creationId="{4C30BBCD-1039-4B0F-9A08-B0ADB3C4E66C}"/>
          </ac:picMkLst>
        </pc:picChg>
        <pc:cxnChg chg="mod">
          <ac:chgData name="stroe oana" userId="ee49d124-f45d-41f8-8da5-9ab46192c709" providerId="ADAL" clId="{1AF8456F-1D09-4E5B-8683-1A80505D6EB4}" dt="2020-07-20T11:51:17.069" v="22" actId="1076"/>
          <ac:cxnSpMkLst>
            <pc:docMk/>
            <pc:sldMk cId="2370781133" sldId="1217"/>
            <ac:cxnSpMk id="7" creationId="{D54E4FCA-6223-4063-96D6-94996CDE4304}"/>
          </ac:cxnSpMkLst>
        </pc:cxnChg>
      </pc:sldChg>
      <pc:sldChg chg="addSp delSp modSp add">
        <pc:chgData name="stroe oana" userId="ee49d124-f45d-41f8-8da5-9ab46192c709" providerId="ADAL" clId="{1AF8456F-1D09-4E5B-8683-1A80505D6EB4}" dt="2020-07-20T13:38:17.943" v="565" actId="20577"/>
        <pc:sldMkLst>
          <pc:docMk/>
          <pc:sldMk cId="1055168330" sldId="1218"/>
        </pc:sldMkLst>
        <pc:spChg chg="mod">
          <ac:chgData name="stroe oana" userId="ee49d124-f45d-41f8-8da5-9ab46192c709" providerId="ADAL" clId="{1AF8456F-1D09-4E5B-8683-1A80505D6EB4}" dt="2020-07-20T13:38:06.838" v="564" actId="14100"/>
          <ac:spMkLst>
            <pc:docMk/>
            <pc:sldMk cId="1055168330" sldId="1218"/>
            <ac:spMk id="5" creationId="{859BE66C-3775-49EE-ADEE-7E58D8A09BAA}"/>
          </ac:spMkLst>
        </pc:spChg>
        <pc:spChg chg="add mod">
          <ac:chgData name="stroe oana" userId="ee49d124-f45d-41f8-8da5-9ab46192c709" providerId="ADAL" clId="{1AF8456F-1D09-4E5B-8683-1A80505D6EB4}" dt="2020-07-20T13:38:17.943" v="565" actId="20577"/>
          <ac:spMkLst>
            <pc:docMk/>
            <pc:sldMk cId="1055168330" sldId="1218"/>
            <ac:spMk id="10" creationId="{3AC35235-3C80-41DD-9269-B490CE7ED1A0}"/>
          </ac:spMkLst>
        </pc:spChg>
        <pc:spChg chg="add mod">
          <ac:chgData name="stroe oana" userId="ee49d124-f45d-41f8-8da5-9ab46192c709" providerId="ADAL" clId="{1AF8456F-1D09-4E5B-8683-1A80505D6EB4}" dt="2020-07-20T13:37:31.670" v="496"/>
          <ac:spMkLst>
            <pc:docMk/>
            <pc:sldMk cId="1055168330" sldId="1218"/>
            <ac:spMk id="11" creationId="{D7958E4E-8637-4BAC-BDA1-5741988B2722}"/>
          </ac:spMkLst>
        </pc:spChg>
        <pc:spChg chg="del mod">
          <ac:chgData name="stroe oana" userId="ee49d124-f45d-41f8-8da5-9ab46192c709" providerId="ADAL" clId="{1AF8456F-1D09-4E5B-8683-1A80505D6EB4}" dt="2020-07-20T13:37:31.670" v="496"/>
          <ac:spMkLst>
            <pc:docMk/>
            <pc:sldMk cId="1055168330" sldId="1218"/>
            <ac:spMk id="16" creationId="{4E45851E-A227-4179-A081-E18B35BA443B}"/>
          </ac:spMkLst>
        </pc:spChg>
      </pc:sldChg>
      <pc:sldChg chg="del">
        <pc:chgData name="stroe oana" userId="ee49d124-f45d-41f8-8da5-9ab46192c709" providerId="ADAL" clId="{1AF8456F-1D09-4E5B-8683-1A80505D6EB4}" dt="2020-07-20T13:30:13.052" v="436" actId="2696"/>
        <pc:sldMkLst>
          <pc:docMk/>
          <pc:sldMk cId="570658333" sldId="1219"/>
        </pc:sldMkLst>
      </pc:sldChg>
      <pc:sldChg chg="modSp add del">
        <pc:chgData name="stroe oana" userId="ee49d124-f45d-41f8-8da5-9ab46192c709" providerId="ADAL" clId="{1AF8456F-1D09-4E5B-8683-1A80505D6EB4}" dt="2020-07-20T11:57:19.193" v="96" actId="20577"/>
        <pc:sldMkLst>
          <pc:docMk/>
          <pc:sldMk cId="2608226619" sldId="1227"/>
        </pc:sldMkLst>
        <pc:spChg chg="mod">
          <ac:chgData name="stroe oana" userId="ee49d124-f45d-41f8-8da5-9ab46192c709" providerId="ADAL" clId="{1AF8456F-1D09-4E5B-8683-1A80505D6EB4}" dt="2020-07-20T11:57:19.193" v="96" actId="20577"/>
          <ac:spMkLst>
            <pc:docMk/>
            <pc:sldMk cId="2608226619" sldId="1227"/>
            <ac:spMk id="17" creationId="{0A91E2A9-0BF3-454E-8900-754FEFB251B0}"/>
          </ac:spMkLst>
        </pc:spChg>
      </pc:sldChg>
      <pc:sldChg chg="modSp add del ord">
        <pc:chgData name="stroe oana" userId="ee49d124-f45d-41f8-8da5-9ab46192c709" providerId="ADAL" clId="{1AF8456F-1D09-4E5B-8683-1A80505D6EB4}" dt="2020-07-20T11:57:38.259" v="107"/>
        <pc:sldMkLst>
          <pc:docMk/>
          <pc:sldMk cId="920797046" sldId="1233"/>
        </pc:sldMkLst>
        <pc:spChg chg="mod">
          <ac:chgData name="stroe oana" userId="ee49d124-f45d-41f8-8da5-9ab46192c709" providerId="ADAL" clId="{1AF8456F-1D09-4E5B-8683-1A80505D6EB4}" dt="2020-07-20T11:57:29.589" v="106" actId="20577"/>
          <ac:spMkLst>
            <pc:docMk/>
            <pc:sldMk cId="920797046" sldId="1233"/>
            <ac:spMk id="17" creationId="{0A91E2A9-0BF3-454E-8900-754FEFB251B0}"/>
          </ac:spMkLst>
        </pc:spChg>
      </pc:sldChg>
      <pc:sldChg chg="add del setBg">
        <pc:chgData name="stroe oana" userId="ee49d124-f45d-41f8-8da5-9ab46192c709" providerId="ADAL" clId="{1AF8456F-1D09-4E5B-8683-1A80505D6EB4}" dt="2020-07-20T13:34:56.800" v="489"/>
        <pc:sldMkLst>
          <pc:docMk/>
          <pc:sldMk cId="2083455104" sldId="1234"/>
        </pc:sldMkLst>
      </pc:sldChg>
      <pc:sldChg chg="add del">
        <pc:chgData name="stroe oana" userId="ee49d124-f45d-41f8-8da5-9ab46192c709" providerId="ADAL" clId="{1AF8456F-1D09-4E5B-8683-1A80505D6EB4}" dt="2020-07-20T14:23:47.567" v="1125" actId="2696"/>
        <pc:sldMkLst>
          <pc:docMk/>
          <pc:sldMk cId="3330479708" sldId="1234"/>
        </pc:sldMkLst>
      </pc:sldChg>
      <pc:sldChg chg="addSp delSp modSp add">
        <pc:chgData name="stroe oana" userId="ee49d124-f45d-41f8-8da5-9ab46192c709" providerId="ADAL" clId="{1AF8456F-1D09-4E5B-8683-1A80505D6EB4}" dt="2020-07-20T14:21:24.075" v="1074" actId="20577"/>
        <pc:sldMkLst>
          <pc:docMk/>
          <pc:sldMk cId="4010401808" sldId="1235"/>
        </pc:sldMkLst>
        <pc:spChg chg="add mod ord">
          <ac:chgData name="stroe oana" userId="ee49d124-f45d-41f8-8da5-9ab46192c709" providerId="ADAL" clId="{1AF8456F-1D09-4E5B-8683-1A80505D6EB4}" dt="2020-07-20T14:16:51.157" v="1069" actId="14100"/>
          <ac:spMkLst>
            <pc:docMk/>
            <pc:sldMk cId="4010401808" sldId="1235"/>
            <ac:spMk id="2" creationId="{1B55635E-FA61-4511-983D-E9A914199DAE}"/>
          </ac:spMkLst>
        </pc:spChg>
        <pc:spChg chg="mod">
          <ac:chgData name="stroe oana" userId="ee49d124-f45d-41f8-8da5-9ab46192c709" providerId="ADAL" clId="{1AF8456F-1D09-4E5B-8683-1A80505D6EB4}" dt="2020-07-20T14:21:04.165" v="1071" actId="14100"/>
          <ac:spMkLst>
            <pc:docMk/>
            <pc:sldMk cId="4010401808" sldId="1235"/>
            <ac:spMk id="3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3:10.855" v="895" actId="403"/>
          <ac:spMkLst>
            <pc:docMk/>
            <pc:sldMk cId="4010401808" sldId="1235"/>
            <ac:spMk id="43" creationId="{C307ADBB-28DF-4638-9BAC-293A18E50F9D}"/>
          </ac:spMkLst>
        </pc:spChg>
        <pc:spChg chg="del">
          <ac:chgData name="stroe oana" userId="ee49d124-f45d-41f8-8da5-9ab46192c709" providerId="ADAL" clId="{1AF8456F-1D09-4E5B-8683-1A80505D6EB4}" dt="2020-07-20T14:00:43.329" v="723" actId="478"/>
          <ac:spMkLst>
            <pc:docMk/>
            <pc:sldMk cId="4010401808" sldId="1235"/>
            <ac:spMk id="44" creationId="{96693FA5-8963-4CA0-99FE-02ED422FA8D0}"/>
          </ac:spMkLst>
        </pc:spChg>
        <pc:spChg chg="mod">
          <ac:chgData name="stroe oana" userId="ee49d124-f45d-41f8-8da5-9ab46192c709" providerId="ADAL" clId="{1AF8456F-1D09-4E5B-8683-1A80505D6EB4}" dt="2020-07-20T14:02:53.743" v="885" actId="403"/>
          <ac:spMkLst>
            <pc:docMk/>
            <pc:sldMk cId="4010401808" sldId="1235"/>
            <ac:spMk id="45" creationId="{D5257373-B0EA-49CD-B4BC-67CD44449450}"/>
          </ac:spMkLst>
        </pc:spChg>
        <pc:spChg chg="del">
          <ac:chgData name="stroe oana" userId="ee49d124-f45d-41f8-8da5-9ab46192c709" providerId="ADAL" clId="{1AF8456F-1D09-4E5B-8683-1A80505D6EB4}" dt="2020-07-20T14:02:39.447" v="876" actId="478"/>
          <ac:spMkLst>
            <pc:docMk/>
            <pc:sldMk cId="4010401808" sldId="1235"/>
            <ac:spMk id="46" creationId="{872E5AA0-1CA0-467E-81EC-6A216DB28FC9}"/>
          </ac:spMkLst>
        </pc:spChg>
        <pc:spChg chg="mod">
          <ac:chgData name="stroe oana" userId="ee49d124-f45d-41f8-8da5-9ab46192c709" providerId="ADAL" clId="{1AF8456F-1D09-4E5B-8683-1A80505D6EB4}" dt="2020-07-20T14:02:33.744" v="875" actId="403"/>
          <ac:spMkLst>
            <pc:docMk/>
            <pc:sldMk cId="4010401808" sldId="1235"/>
            <ac:spMk id="52" creationId="{00A7B3F2-671D-41E9-A8C8-47C828B02B59}"/>
          </ac:spMkLst>
        </pc:spChg>
        <pc:spChg chg="del">
          <ac:chgData name="stroe oana" userId="ee49d124-f45d-41f8-8da5-9ab46192c709" providerId="ADAL" clId="{1AF8456F-1D09-4E5B-8683-1A80505D6EB4}" dt="2020-07-20T14:02:26.312" v="870" actId="478"/>
          <ac:spMkLst>
            <pc:docMk/>
            <pc:sldMk cId="4010401808" sldId="1235"/>
            <ac:spMk id="56" creationId="{B305CEE8-98E2-445B-8F7E-D4B0F3A8AE22}"/>
          </ac:spMkLst>
        </pc:spChg>
        <pc:spChg chg="del">
          <ac:chgData name="stroe oana" userId="ee49d124-f45d-41f8-8da5-9ab46192c709" providerId="ADAL" clId="{1AF8456F-1D09-4E5B-8683-1A80505D6EB4}" dt="2020-07-20T14:00:38.620" v="722" actId="478"/>
          <ac:spMkLst>
            <pc:docMk/>
            <pc:sldMk cId="4010401808" sldId="1235"/>
            <ac:spMk id="58" creationId="{E3A501DD-268D-4AB1-97AA-FA3E758BF25F}"/>
          </ac:spMkLst>
        </pc:spChg>
        <pc:spChg chg="mod">
          <ac:chgData name="stroe oana" userId="ee49d124-f45d-41f8-8da5-9ab46192c709" providerId="ADAL" clId="{1AF8456F-1D09-4E5B-8683-1A80505D6EB4}" dt="2020-07-20T14:16:33.777" v="1065" actId="1076"/>
          <ac:spMkLst>
            <pc:docMk/>
            <pc:sldMk cId="4010401808" sldId="1235"/>
            <ac:spMk id="63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16:33.777" v="1065" actId="1076"/>
          <ac:spMkLst>
            <pc:docMk/>
            <pc:sldMk cId="4010401808" sldId="1235"/>
            <ac:spMk id="67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16:33.777" v="1065" actId="1076"/>
          <ac:spMkLst>
            <pc:docMk/>
            <pc:sldMk cId="4010401808" sldId="1235"/>
            <ac:spMk id="68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16:33.777" v="1065" actId="1076"/>
          <ac:spMkLst>
            <pc:docMk/>
            <pc:sldMk cId="4010401808" sldId="1235"/>
            <ac:spMk id="71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2:12.910" v="864" actId="1076"/>
          <ac:spMkLst>
            <pc:docMk/>
            <pc:sldMk cId="4010401808" sldId="1235"/>
            <ac:spMk id="75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1:46.838" v="856" actId="1035"/>
          <ac:spMkLst>
            <pc:docMk/>
            <pc:sldMk cId="4010401808" sldId="1235"/>
            <ac:spMk id="79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1:46.838" v="856" actId="1035"/>
          <ac:spMkLst>
            <pc:docMk/>
            <pc:sldMk cId="4010401808" sldId="1235"/>
            <ac:spMk id="82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2:06.955" v="862" actId="1076"/>
          <ac:spMkLst>
            <pc:docMk/>
            <pc:sldMk cId="4010401808" sldId="1235"/>
            <ac:spMk id="84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1:46.838" v="856" actId="1035"/>
          <ac:spMkLst>
            <pc:docMk/>
            <pc:sldMk cId="4010401808" sldId="1235"/>
            <ac:spMk id="85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3:33.654" v="910" actId="1038"/>
          <ac:spMkLst>
            <pc:docMk/>
            <pc:sldMk cId="4010401808" sldId="1235"/>
            <ac:spMk id="86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3:33.654" v="910" actId="1038"/>
          <ac:spMkLst>
            <pc:docMk/>
            <pc:sldMk cId="4010401808" sldId="1235"/>
            <ac:spMk id="87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4:19.682" v="920" actId="1076"/>
          <ac:spMkLst>
            <pc:docMk/>
            <pc:sldMk cId="4010401808" sldId="1235"/>
            <ac:spMk id="88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3:33.654" v="910" actId="1038"/>
          <ac:spMkLst>
            <pc:docMk/>
            <pc:sldMk cId="4010401808" sldId="1235"/>
            <ac:spMk id="89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21:24.075" v="1074" actId="20577"/>
          <ac:spMkLst>
            <pc:docMk/>
            <pc:sldMk cId="4010401808" sldId="1235"/>
            <ac:spMk id="90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4:44.751" v="922" actId="1076"/>
          <ac:spMkLst>
            <pc:docMk/>
            <pc:sldMk cId="4010401808" sldId="1235"/>
            <ac:spMk id="91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3:17.860" v="900" actId="1038"/>
          <ac:spMkLst>
            <pc:docMk/>
            <pc:sldMk cId="4010401808" sldId="1235"/>
            <ac:spMk id="100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5:10.479" v="928" actId="1076"/>
          <ac:spMkLst>
            <pc:docMk/>
            <pc:sldMk cId="4010401808" sldId="1235"/>
            <ac:spMk id="101" creationId="{00000000-0000-0000-0000-000000000000}"/>
          </ac:spMkLst>
        </pc:spChg>
        <pc:spChg chg="mod">
          <ac:chgData name="stroe oana" userId="ee49d124-f45d-41f8-8da5-9ab46192c709" providerId="ADAL" clId="{1AF8456F-1D09-4E5B-8683-1A80505D6EB4}" dt="2020-07-20T14:01:46.838" v="856" actId="1035"/>
          <ac:spMkLst>
            <pc:docMk/>
            <pc:sldMk cId="4010401808" sldId="1235"/>
            <ac:spMk id="102" creationId="{00000000-0000-0000-0000-000000000000}"/>
          </ac:spMkLst>
        </pc:spChg>
        <pc:grpChg chg="add mod">
          <ac:chgData name="stroe oana" userId="ee49d124-f45d-41f8-8da5-9ab46192c709" providerId="ADAL" clId="{1AF8456F-1D09-4E5B-8683-1A80505D6EB4}" dt="2020-07-20T14:00:34.208" v="721" actId="1076"/>
          <ac:grpSpMkLst>
            <pc:docMk/>
            <pc:sldMk cId="4010401808" sldId="1235"/>
            <ac:grpSpMk id="39" creationId="{C15AC83D-0113-40AF-AE4C-FF2B5696240D}"/>
          </ac:grpSpMkLst>
        </pc:grpChg>
        <pc:graphicFrameChg chg="del">
          <ac:chgData name="stroe oana" userId="ee49d124-f45d-41f8-8da5-9ab46192c709" providerId="ADAL" clId="{1AF8456F-1D09-4E5B-8683-1A80505D6EB4}" dt="2020-07-20T13:58:49.013" v="719" actId="478"/>
          <ac:graphicFrameMkLst>
            <pc:docMk/>
            <pc:sldMk cId="4010401808" sldId="1235"/>
            <ac:graphicFrameMk id="74" creationId="{00000000-0000-0000-0000-000000000000}"/>
          </ac:graphicFrameMkLst>
        </pc:graphicFrameChg>
        <pc:picChg chg="mod">
          <ac:chgData name="stroe oana" userId="ee49d124-f45d-41f8-8da5-9ab46192c709" providerId="ADAL" clId="{1AF8456F-1D09-4E5B-8683-1A80505D6EB4}" dt="2020-07-20T14:16:55.853" v="1070" actId="1076"/>
          <ac:picMkLst>
            <pc:docMk/>
            <pc:sldMk cId="4010401808" sldId="1235"/>
            <ac:picMk id="49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16:33.777" v="1065" actId="1076"/>
          <ac:picMkLst>
            <pc:docMk/>
            <pc:sldMk cId="4010401808" sldId="1235"/>
            <ac:picMk id="53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16:37.902" v="1066" actId="14100"/>
          <ac:picMkLst>
            <pc:docMk/>
            <pc:sldMk cId="4010401808" sldId="1235"/>
            <ac:picMk id="61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16:42.768" v="1068" actId="14100"/>
          <ac:picMkLst>
            <pc:docMk/>
            <pc:sldMk cId="4010401808" sldId="1235"/>
            <ac:picMk id="62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04:38.524" v="921" actId="554"/>
          <ac:picMkLst>
            <pc:docMk/>
            <pc:sldMk cId="4010401808" sldId="1235"/>
            <ac:picMk id="76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04:38.524" v="921" actId="554"/>
          <ac:picMkLst>
            <pc:docMk/>
            <pc:sldMk cId="4010401808" sldId="1235"/>
            <ac:picMk id="77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04:38.524" v="921" actId="554"/>
          <ac:picMkLst>
            <pc:docMk/>
            <pc:sldMk cId="4010401808" sldId="1235"/>
            <ac:picMk id="78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04:38.524" v="921" actId="554"/>
          <ac:picMkLst>
            <pc:docMk/>
            <pc:sldMk cId="4010401808" sldId="1235"/>
            <ac:picMk id="80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04:38.524" v="921" actId="554"/>
          <ac:picMkLst>
            <pc:docMk/>
            <pc:sldMk cId="4010401808" sldId="1235"/>
            <ac:picMk id="81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04:38.524" v="921" actId="554"/>
          <ac:picMkLst>
            <pc:docMk/>
            <pc:sldMk cId="4010401808" sldId="1235"/>
            <ac:picMk id="96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04:38.524" v="921" actId="554"/>
          <ac:picMkLst>
            <pc:docMk/>
            <pc:sldMk cId="4010401808" sldId="1235"/>
            <ac:picMk id="97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04:38.524" v="921" actId="554"/>
          <ac:picMkLst>
            <pc:docMk/>
            <pc:sldMk cId="4010401808" sldId="1235"/>
            <ac:picMk id="98" creationId="{00000000-0000-0000-0000-000000000000}"/>
          </ac:picMkLst>
        </pc:picChg>
        <pc:picChg chg="mod">
          <ac:chgData name="stroe oana" userId="ee49d124-f45d-41f8-8da5-9ab46192c709" providerId="ADAL" clId="{1AF8456F-1D09-4E5B-8683-1A80505D6EB4}" dt="2020-07-20T14:04:38.524" v="921" actId="554"/>
          <ac:picMkLst>
            <pc:docMk/>
            <pc:sldMk cId="4010401808" sldId="1235"/>
            <ac:picMk id="99" creationId="{00000000-0000-0000-0000-000000000000}"/>
          </ac:picMkLst>
        </pc:picChg>
        <pc:cxnChg chg="del">
          <ac:chgData name="stroe oana" userId="ee49d124-f45d-41f8-8da5-9ab46192c709" providerId="ADAL" clId="{1AF8456F-1D09-4E5B-8683-1A80505D6EB4}" dt="2020-07-20T14:02:19.270" v="865" actId="478"/>
          <ac:cxnSpMkLst>
            <pc:docMk/>
            <pc:sldMk cId="4010401808" sldId="1235"/>
            <ac:cxnSpMk id="41" creationId="{EA43C7EF-7634-4A74-82DE-55A7C351657C}"/>
          </ac:cxnSpMkLst>
        </pc:cxnChg>
        <pc:cxnChg chg="del">
          <ac:chgData name="stroe oana" userId="ee49d124-f45d-41f8-8da5-9ab46192c709" providerId="ADAL" clId="{1AF8456F-1D09-4E5B-8683-1A80505D6EB4}" dt="2020-07-20T14:02:43.017" v="877" actId="478"/>
          <ac:cxnSpMkLst>
            <pc:docMk/>
            <pc:sldMk cId="4010401808" sldId="1235"/>
            <ac:cxnSpMk id="42" creationId="{93704C66-E703-4AE6-9B8E-FA653B30F4B5}"/>
          </ac:cxnSpMkLst>
        </pc:cxnChg>
        <pc:cxnChg chg="del">
          <ac:chgData name="stroe oana" userId="ee49d124-f45d-41f8-8da5-9ab46192c709" providerId="ADAL" clId="{1AF8456F-1D09-4E5B-8683-1A80505D6EB4}" dt="2020-07-20T14:00:48.873" v="724" actId="478"/>
          <ac:cxnSpMkLst>
            <pc:docMk/>
            <pc:sldMk cId="4010401808" sldId="1235"/>
            <ac:cxnSpMk id="47" creationId="{0314D228-90D5-415C-A555-F1D84DC94B62}"/>
          </ac:cxnSpMkLst>
        </pc:cxnChg>
        <pc:cxnChg chg="del">
          <ac:chgData name="stroe oana" userId="ee49d124-f45d-41f8-8da5-9ab46192c709" providerId="ADAL" clId="{1AF8456F-1D09-4E5B-8683-1A80505D6EB4}" dt="2020-07-20T14:02:57.244" v="886" actId="478"/>
          <ac:cxnSpMkLst>
            <pc:docMk/>
            <pc:sldMk cId="4010401808" sldId="1235"/>
            <ac:cxnSpMk id="48" creationId="{55DC29E1-F184-41EA-859C-C3CE48D2B6DF}"/>
          </ac:cxnSpMkLst>
        </pc:cxnChg>
        <pc:cxnChg chg="mod">
          <ac:chgData name="stroe oana" userId="ee49d124-f45d-41f8-8da5-9ab46192c709" providerId="ADAL" clId="{1AF8456F-1D09-4E5B-8683-1A80505D6EB4}" dt="2020-07-20T14:06:06.611" v="929" actId="1076"/>
          <ac:cxnSpMkLst>
            <pc:docMk/>
            <pc:sldMk cId="4010401808" sldId="1235"/>
            <ac:cxnSpMk id="54" creationId="{F1841708-8B93-4ED8-9522-DA3881619623}"/>
          </ac:cxnSpMkLst>
        </pc:cxnChg>
        <pc:cxnChg chg="mod">
          <ac:chgData name="stroe oana" userId="ee49d124-f45d-41f8-8da5-9ab46192c709" providerId="ADAL" clId="{1AF8456F-1D09-4E5B-8683-1A80505D6EB4}" dt="2020-07-20T14:06:10.248" v="930" actId="1037"/>
          <ac:cxnSpMkLst>
            <pc:docMk/>
            <pc:sldMk cId="4010401808" sldId="1235"/>
            <ac:cxnSpMk id="55" creationId="{CD0DEA85-DDE2-4CBD-A53A-DA4E883D8924}"/>
          </ac:cxnSpMkLst>
        </pc:cxnChg>
        <pc:cxnChg chg="mod">
          <ac:chgData name="stroe oana" userId="ee49d124-f45d-41f8-8da5-9ab46192c709" providerId="ADAL" clId="{1AF8456F-1D09-4E5B-8683-1A80505D6EB4}" dt="2020-07-20T14:01:46.838" v="856" actId="1035"/>
          <ac:cxnSpMkLst>
            <pc:docMk/>
            <pc:sldMk cId="4010401808" sldId="1235"/>
            <ac:cxnSpMk id="83" creationId="{00000000-0000-0000-0000-000000000000}"/>
          </ac:cxnSpMkLst>
        </pc:cxnChg>
        <pc:cxnChg chg="mod">
          <ac:chgData name="stroe oana" userId="ee49d124-f45d-41f8-8da5-9ab46192c709" providerId="ADAL" clId="{1AF8456F-1D09-4E5B-8683-1A80505D6EB4}" dt="2020-07-20T14:01:46.838" v="856" actId="1035"/>
          <ac:cxnSpMkLst>
            <pc:docMk/>
            <pc:sldMk cId="4010401808" sldId="1235"/>
            <ac:cxnSpMk id="105" creationId="{00000000-0000-0000-0000-000000000000}"/>
          </ac:cxnSpMkLst>
        </pc:cxnChg>
      </pc:sldChg>
      <pc:sldMasterChg chg="delSldLayout">
        <pc:chgData name="stroe oana" userId="ee49d124-f45d-41f8-8da5-9ab46192c709" providerId="ADAL" clId="{1AF8456F-1D09-4E5B-8683-1A80505D6EB4}" dt="2020-07-20T13:33:44.759" v="484" actId="2696"/>
        <pc:sldMasterMkLst>
          <pc:docMk/>
          <pc:sldMasterMk cId="3487987680" sldId="2147483648"/>
        </pc:sldMasterMkLst>
        <pc:sldLayoutChg chg="del">
          <pc:chgData name="stroe oana" userId="ee49d124-f45d-41f8-8da5-9ab46192c709" providerId="ADAL" clId="{1AF8456F-1D09-4E5B-8683-1A80505D6EB4}" dt="2020-07-20T13:33:44.759" v="484" actId="2696"/>
          <pc:sldLayoutMkLst>
            <pc:docMk/>
            <pc:sldMasterMk cId="3487987680" sldId="2147483648"/>
            <pc:sldLayoutMk cId="1627851372" sldId="214748371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833689369486422E-2"/>
          <c:y val="4.2364159899505802E-2"/>
          <c:w val="0.91832084560545046"/>
          <c:h val="0.843871148447496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/w LPWA</c:v>
                </c:pt>
              </c:strCache>
            </c:strRef>
          </c:tx>
          <c:spPr>
            <a:ln w="19050">
              <a:solidFill>
                <a:schemeClr val="accent1"/>
              </a:solidFill>
            </a:ln>
          </c:spPr>
          <c:invertIfNegative val="0"/>
          <c:cat>
            <c:numRef>
              <c:f>Sheet1!$A$2:$A$14</c:f>
              <c:numCache>
                <c:formatCode>General</c:formatCod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</c:numCache>
            </c:num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0.19620151721154866</c:v>
                </c:pt>
                <c:pt idx="1">
                  <c:v>0.32804930087238293</c:v>
                </c:pt>
                <c:pt idx="2">
                  <c:v>0.52790086718631302</c:v>
                </c:pt>
                <c:pt idx="3">
                  <c:v>0.81146772880509921</c:v>
                </c:pt>
                <c:pt idx="4">
                  <c:v>1.3260328010845932</c:v>
                </c:pt>
                <c:pt idx="5">
                  <c:v>2.1581169072374902</c:v>
                </c:pt>
                <c:pt idx="6">
                  <c:v>2.8352248853596702</c:v>
                </c:pt>
                <c:pt idx="7">
                  <c:v>3.28</c:v>
                </c:pt>
                <c:pt idx="8">
                  <c:v>3.6802976031762968</c:v>
                </c:pt>
                <c:pt idx="9">
                  <c:v>4.0005356857173346</c:v>
                </c:pt>
                <c:pt idx="10">
                  <c:v>4.2247023434960607</c:v>
                </c:pt>
                <c:pt idx="11">
                  <c:v>4.3592023381632972</c:v>
                </c:pt>
                <c:pt idx="12">
                  <c:v>4.4264523354969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C9-42FA-85A7-80BED4114E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ll IoT</c:v>
                </c:pt>
              </c:strCache>
            </c:strRef>
          </c:tx>
          <c:spPr>
            <a:pattFill prst="ltUpDiag">
              <a:fgClr>
                <a:schemeClr val="accent1"/>
              </a:fgClr>
              <a:bgClr>
                <a:schemeClr val="bg1"/>
              </a:bgClr>
            </a:pattFill>
            <a:ln w="19050">
              <a:solidFill>
                <a:schemeClr val="accent1"/>
              </a:solidFill>
            </a:ln>
          </c:spPr>
          <c:invertIfNegative val="0"/>
          <c:cat>
            <c:numRef>
              <c:f>Sheet1!$A$2:$A$14</c:f>
              <c:numCache>
                <c:formatCode>General</c:formatCod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</c:numCache>
            </c:numRef>
          </c:cat>
          <c:val>
            <c:numRef>
              <c:f>Sheet1!$C$2:$C$14</c:f>
              <c:numCache>
                <c:formatCode>General</c:formatCode>
                <c:ptCount val="13"/>
                <c:pt idx="0">
                  <c:v>6.8037984827884515</c:v>
                </c:pt>
                <c:pt idx="1">
                  <c:v>7.9719506991276177</c:v>
                </c:pt>
                <c:pt idx="2">
                  <c:v>9.3720991328136876</c:v>
                </c:pt>
                <c:pt idx="3">
                  <c:v>10.788532271194901</c:v>
                </c:pt>
                <c:pt idx="4">
                  <c:v>12.173967198915406</c:v>
                </c:pt>
                <c:pt idx="5">
                  <c:v>13.641883092762511</c:v>
                </c:pt>
                <c:pt idx="6">
                  <c:v>15.66477511464033</c:v>
                </c:pt>
                <c:pt idx="7">
                  <c:v>18.22</c:v>
                </c:pt>
                <c:pt idx="8">
                  <c:v>20.184702396823706</c:v>
                </c:pt>
                <c:pt idx="9">
                  <c:v>21.53501431428267</c:v>
                </c:pt>
                <c:pt idx="10">
                  <c:v>22.842980656503947</c:v>
                </c:pt>
                <c:pt idx="11">
                  <c:v>23.79118798183671</c:v>
                </c:pt>
                <c:pt idx="12">
                  <c:v>24.5684496941030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C9-42FA-85A7-80BED4114E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overlap val="100"/>
        <c:axId val="133031424"/>
        <c:axId val="133032960"/>
      </c:barChart>
      <c:catAx>
        <c:axId val="133031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fr-FR"/>
          </a:p>
        </c:txPr>
        <c:crossAx val="133032960"/>
        <c:crosses val="autoZero"/>
        <c:auto val="1"/>
        <c:lblAlgn val="ctr"/>
        <c:lblOffset val="100"/>
        <c:noMultiLvlLbl val="0"/>
      </c:catAx>
      <c:valAx>
        <c:axId val="133032960"/>
        <c:scaling>
          <c:orientation val="minMax"/>
          <c:max val="3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fr-FR"/>
          </a:p>
        </c:txPr>
        <c:crossAx val="133031424"/>
        <c:crosses val="autoZero"/>
        <c:crossBetween val="between"/>
      </c:valAx>
    </c:plotArea>
    <c:legend>
      <c:legendPos val="l"/>
      <c:layout>
        <c:manualLayout>
          <c:xMode val="edge"/>
          <c:yMode val="edge"/>
          <c:x val="0.2321661570014848"/>
          <c:y val="0.24413920498551209"/>
          <c:w val="0.22013040396328068"/>
          <c:h val="0.11266565782326374"/>
        </c:manualLayout>
      </c:layout>
      <c:overlay val="1"/>
      <c:spPr>
        <a:solidFill>
          <a:schemeClr val="bg1"/>
        </a:solidFill>
        <a:ln>
          <a:noFill/>
        </a:ln>
      </c:spPr>
      <c:txPr>
        <a:bodyPr/>
        <a:lstStyle/>
        <a:p>
          <a:pPr>
            <a:defRPr sz="1200"/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11E8BB9-BBFB-42C1-B308-1DA98411C9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C3EF7B-1D6F-4EA6-B27C-DFFD1C19E1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D8EA56-F1A0-49C5-9948-60B50A627ABB}" type="datetimeFigureOut">
              <a:rPr lang="fr-FR" smtClean="0"/>
              <a:t>05/10/2020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DE235-FAD9-4CDA-9C07-AB1070F430E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100E92-7223-4AD9-B1E9-95BDE7E86D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F26906-530C-4A3E-A8C2-E0DD1D1794A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9431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384C46-9CC5-4C4D-A63D-952DBFA92270}" type="datetimeFigureOut">
              <a:rPr lang="fr-FR" smtClean="0"/>
              <a:t>05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5595D7-E9C5-4D78-807E-FD917B61A5B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5002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5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FA9BB046-2715-44A2-BD64-D62585F46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380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FA9BB046-2715-44A2-BD64-D62585F46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495289BC-F820-44D9-A38C-35B0A6C770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406C2A4-6F8D-4138-88CF-1A652C6D9B3E}"/>
              </a:ext>
            </a:extLst>
          </p:cNvPr>
          <p:cNvGrpSpPr/>
          <p:nvPr userDrawn="1"/>
        </p:nvGrpSpPr>
        <p:grpSpPr>
          <a:xfrm>
            <a:off x="228000" y="2556000"/>
            <a:ext cx="11736000" cy="4068000"/>
            <a:chOff x="228000" y="2556000"/>
            <a:chExt cx="11736000" cy="406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9E8FA9D-9D12-4C2F-9B60-D55D50E7EBAB}"/>
                </a:ext>
              </a:extLst>
            </p:cNvPr>
            <p:cNvSpPr/>
            <p:nvPr userDrawn="1"/>
          </p:nvSpPr>
          <p:spPr>
            <a:xfrm>
              <a:off x="228000" y="2556000"/>
              <a:ext cx="11736000" cy="4068000"/>
            </a:xfrm>
            <a:prstGeom prst="rect">
              <a:avLst/>
            </a:prstGeom>
            <a:gradFill>
              <a:gsLst>
                <a:gs pos="0">
                  <a:schemeClr val="bg2"/>
                </a:gs>
                <a:gs pos="74000">
                  <a:srgbClr val="0C1452"/>
                </a:gs>
              </a:gsLst>
              <a:lin ang="0" scaled="1"/>
            </a:gradFill>
          </p:spPr>
          <p:txBody>
            <a:bodyPr vert="horz" lIns="2736000" tIns="45720" rIns="91440" bIns="45720" rtlCol="0" anchor="ctr">
              <a:noAutofit/>
            </a:bodyPr>
            <a:lstStyle/>
            <a:p>
              <a:pPr lvl="0" indent="0">
                <a:lnSpc>
                  <a:spcPct val="11000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fr-FR" sz="1400" b="0">
                <a:solidFill>
                  <a:schemeClr val="bg1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FC21CB-25F8-4199-B738-B9C0E9AD1459}"/>
                </a:ext>
              </a:extLst>
            </p:cNvPr>
            <p:cNvSpPr/>
            <p:nvPr userDrawn="1"/>
          </p:nvSpPr>
          <p:spPr>
            <a:xfrm>
              <a:off x="228000" y="2556000"/>
              <a:ext cx="11736000" cy="4068000"/>
            </a:xfrm>
            <a:prstGeom prst="rect">
              <a:avLst/>
            </a:prstGeom>
            <a:gradFill>
              <a:gsLst>
                <a:gs pos="0">
                  <a:srgbClr val="0C1551">
                    <a:alpha val="0"/>
                  </a:srgbClr>
                </a:gs>
                <a:gs pos="100000">
                  <a:srgbClr val="0C1551">
                    <a:alpha val="80000"/>
                  </a:srgbClr>
                </a:gs>
              </a:gsLst>
              <a:lin ang="0" scaled="0"/>
            </a:gradFill>
          </p:spPr>
          <p:txBody>
            <a:bodyPr vert="horz" lIns="91440" tIns="45720" rIns="91440" bIns="45720" rtlCol="0">
              <a:noAutofit/>
            </a:bodyPr>
            <a:lstStyle/>
            <a:p>
              <a:pPr lvl="0" indent="0">
                <a:lnSpc>
                  <a:spcPct val="11000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fr-FR" sz="1300" b="1" dirty="0">
                <a:solidFill>
                  <a:schemeClr val="tx2"/>
                </a:solidFill>
              </a:endParaRPr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2F76CB79-1B4F-4507-9C27-0144CCBCE4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33900" y="228600"/>
            <a:ext cx="3124200" cy="223266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50C5EE01-F973-4120-91B8-34CAA765DB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04875" y="3624035"/>
            <a:ext cx="7020000" cy="698071"/>
          </a:xfrm>
          <a:prstGeom prst="rect">
            <a:avLst/>
          </a:prstGeom>
          <a:noFill/>
        </p:spPr>
        <p:txBody>
          <a:bodyPr lIns="0" tIns="36000" rIns="0" bIns="36000" anchor="b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0AEA671-FC71-4FFA-B81F-CABE73D6E4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04875" y="4325543"/>
            <a:ext cx="7020000" cy="1104661"/>
          </a:xfrm>
        </p:spPr>
        <p:txBody>
          <a:bodyPr lIns="0" rIns="0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  <a:p>
            <a:r>
              <a:rPr lang="en-US" noProof="0" dirty="0"/>
              <a:t>And other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D5C70EC6-B5A8-4D53-9EB4-6FF24EA5152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704875" y="5448301"/>
            <a:ext cx="7020000" cy="540000"/>
          </a:xfrm>
        </p:spPr>
        <p:txBody>
          <a:bodyPr lIns="0" rIns="0" anchor="t"/>
          <a:lstStyle>
            <a:lvl1pPr marL="0" indent="0">
              <a:buNone/>
              <a:defRPr sz="2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Speaker name, date</a:t>
            </a:r>
          </a:p>
        </p:txBody>
      </p:sp>
    </p:spTree>
    <p:extLst>
      <p:ext uri="{BB962C8B-B14F-4D97-AF65-F5344CB8AC3E}">
        <p14:creationId xmlns:p14="http://schemas.microsoft.com/office/powerpoint/2010/main" val="23360700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748C741-AB93-468F-93D3-EA9CD5D19B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78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748C741-AB93-468F-93D3-EA9CD5D19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A32D0-0AA8-43BE-9989-2B490AAF523D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FB236236-97C1-4057-A254-A852A086B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3AA53882-25F7-48B1-9602-FA281BDD35A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8" y="711939"/>
            <a:ext cx="11726862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18B6D4D7-E1E8-461A-88AE-650A057556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6720180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7948D-5272-47EA-8788-782E298156C8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274615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3EEAD76B-6410-4FC8-9FA9-CB7F2B99B1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801" y="226800"/>
            <a:ext cx="11749088" cy="5803200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96029" y="2693165"/>
            <a:ext cx="2260042" cy="504497"/>
          </a:xfrm>
        </p:spPr>
        <p:txBody>
          <a:bodyPr wrap="none" lIns="0" tIns="36449" rIns="36449" bIns="36449" anchor="b">
            <a:spAutoFit/>
          </a:bodyPr>
          <a:lstStyle>
            <a:lvl1pPr marL="0" indent="0" algn="l">
              <a:lnSpc>
                <a:spcPct val="100000"/>
              </a:lnSpc>
              <a:buNone/>
              <a:defRPr sz="2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HANK YOU!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20AA41-531C-4E3F-A1F5-2C8B6B5F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C8FEAD-672B-48AD-BE2C-734F56A1E8CF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5DBAA7-CBEF-4D14-B23C-700CE9F74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8ADA-4DF8-4AC7-89C5-A79FE48108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6029" y="3618189"/>
            <a:ext cx="2484591" cy="442942"/>
          </a:xfrm>
        </p:spPr>
        <p:txBody>
          <a:bodyPr wrap="none" lIns="0" tIns="36449" rIns="36449" bIns="36449" anchor="ctr">
            <a:spAutoFit/>
          </a:bodyPr>
          <a:lstStyle>
            <a:lvl1pPr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7FEEAA-DB33-4DE9-960E-763BC32A21D3}"/>
              </a:ext>
            </a:extLst>
          </p:cNvPr>
          <p:cNvSpPr txBox="1"/>
          <p:nvPr userDrawn="1"/>
        </p:nvSpPr>
        <p:spPr>
          <a:xfrm>
            <a:off x="6296029" y="3322360"/>
            <a:ext cx="900311" cy="289053"/>
          </a:xfrm>
          <a:prstGeom prst="rect">
            <a:avLst/>
          </a:prstGeom>
          <a:noFill/>
        </p:spPr>
        <p:txBody>
          <a:bodyPr wrap="none" lIns="0" tIns="36449" rIns="36449" bIns="36449" rtlCol="0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CONTACT</a:t>
            </a:r>
            <a:endParaRPr lang="fr-FR" b="1" dirty="0">
              <a:solidFill>
                <a:schemeClr val="accent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2A4DC3E-0A65-4E26-B821-16FD6589FC3F}"/>
              </a:ext>
            </a:extLst>
          </p:cNvPr>
          <p:cNvCxnSpPr/>
          <p:nvPr userDrawn="1"/>
        </p:nvCxnSpPr>
        <p:spPr>
          <a:xfrm>
            <a:off x="6296029" y="3608236"/>
            <a:ext cx="3679501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C48B19-78AC-42B9-93C1-6A3B3B6E9B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029" y="4081413"/>
            <a:ext cx="876778" cy="442942"/>
          </a:xfrm>
        </p:spPr>
        <p:txBody>
          <a:bodyPr wrap="none" lIns="0" tIns="36449" rIns="36449" bIns="36449" anchor="ctr">
            <a:spAutoFit/>
          </a:bodyPr>
          <a:lstStyle>
            <a:lvl1pPr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1392380-1D24-4125-98B4-706CA93C5F8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29576" y="2606318"/>
            <a:ext cx="1525162" cy="185000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146050" ty="6350" sx="28000" sy="28000" flip="none" algn="tl"/>
          </a:blipFill>
        </p:spPr>
        <p:txBody>
          <a:bodyPr lIns="0" rIns="0"/>
          <a:lstStyle>
            <a:lvl1pPr algn="ctr">
              <a:buNone/>
              <a:defRPr sz="1050"/>
            </a:lvl1pPr>
          </a:lstStyle>
          <a:p>
            <a:r>
              <a:rPr lang="en-US" dirty="0"/>
              <a:t>Add photo or delete 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755284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CE2ED8-1C60-4EA9-AC5A-86B27FE21C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645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CE2ED8-1C60-4EA9-AC5A-86B27FE21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 9">
            <a:extLst>
              <a:ext uri="{FF2B5EF4-FFF2-40B4-BE49-F238E27FC236}">
                <a16:creationId xmlns:a16="http://schemas.microsoft.com/office/drawing/2014/main" id="{6BF40B07-BFF3-4845-A694-3C81641044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801" y="226800"/>
            <a:ext cx="11749088" cy="580320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DDCBEB9-60E3-4577-A0F1-2B117456D6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8126" y="227013"/>
            <a:ext cx="11734799" cy="5802987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endParaRPr lang="en-GB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20AA41-531C-4E3F-A1F5-2C8B6B5F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FFCFA-4CE5-4C46-85E6-04E23F90F6F5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5DBAA7-CBEF-4D14-B23C-700CE9F74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3415" y="1915058"/>
            <a:ext cx="1638269" cy="1190092"/>
          </a:xfrm>
          <a:prstGeom prst="rect">
            <a:avLst/>
          </a:prstGeom>
          <a:noFill/>
        </p:spPr>
        <p:txBody>
          <a:bodyPr wrap="none" tIns="36000" bIns="36000" anchor="t">
            <a:noAutofit/>
          </a:bodyPr>
          <a:lstStyle>
            <a:lvl1pPr algn="l" rtl="0">
              <a:defRPr sz="92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##.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103415" y="3281681"/>
            <a:ext cx="5869510" cy="503590"/>
          </a:xfrm>
        </p:spPr>
        <p:txBody>
          <a:bodyPr wrap="square" lIns="0" tIns="36000" rIns="72000" bIns="36000" anchor="t">
            <a:spAutoFit/>
          </a:bodyPr>
          <a:lstStyle>
            <a:lvl1pPr marL="0" indent="0" algn="l" rtl="0">
              <a:lnSpc>
                <a:spcPct val="100000"/>
              </a:lnSpc>
              <a:buNone/>
              <a:defRPr sz="2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2894362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95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Eutels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541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62" name="Picture 18" descr="C:\Users\nmoulinf\Desktop\ETL Cover.jp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-1" y="-1"/>
            <a:ext cx="12192001" cy="68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 userDrawn="1"/>
        </p:nvSpPr>
        <p:spPr bwMode="gray">
          <a:xfrm>
            <a:off x="-3854" y="3184335"/>
            <a:ext cx="12204000" cy="1761812"/>
          </a:xfrm>
          <a:prstGeom prst="rect">
            <a:avLst/>
          </a:prstGeom>
          <a:gradFill flip="none" rotWithShape="1">
            <a:gsLst>
              <a:gs pos="0">
                <a:srgbClr val="31C5F5">
                  <a:alpha val="64000"/>
                </a:srgbClr>
              </a:gs>
              <a:gs pos="100000">
                <a:srgbClr val="3F8FC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29994" y="3190443"/>
            <a:ext cx="10627782" cy="587643"/>
          </a:xfrm>
          <a:prstGeom prst="rect">
            <a:avLst/>
          </a:prstGeom>
        </p:spPr>
        <p:txBody>
          <a:bodyPr lIns="36000" tIns="36000" rIns="36000" bIns="36000" anchor="b">
            <a:normAutofit/>
          </a:bodyPr>
          <a:lstStyle>
            <a:lvl1pPr>
              <a:defRPr sz="32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29994" y="3778086"/>
            <a:ext cx="10627782" cy="546100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Font typeface="Arial"/>
              <a:buNone/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 sz="1800">
                <a:solidFill>
                  <a:schemeClr val="bg1"/>
                </a:solidFill>
              </a:defRPr>
            </a:lvl2pPr>
            <a:lvl3pPr>
              <a:buNone/>
              <a:defRPr sz="1800">
                <a:solidFill>
                  <a:schemeClr val="bg1"/>
                </a:solidFill>
              </a:defRPr>
            </a:lvl3pPr>
            <a:lvl4pPr>
              <a:buNone/>
              <a:defRPr sz="1800">
                <a:solidFill>
                  <a:schemeClr val="bg1"/>
                </a:solidFill>
              </a:defRPr>
            </a:lvl4pPr>
            <a:lvl5pPr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 sub title</a:t>
            </a:r>
          </a:p>
        </p:txBody>
      </p:sp>
      <p:sp>
        <p:nvSpPr>
          <p:cNvPr id="9" name="Espace réservé du texte 1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29994" y="4343306"/>
            <a:ext cx="10627782" cy="546100"/>
          </a:xfrm>
          <a:prstGeom prst="rect">
            <a:avLst/>
          </a:prstGeom>
        </p:spPr>
        <p:txBody>
          <a:bodyPr lIns="36000" tIns="36000" rIns="36000" bIns="36000" anchor="b">
            <a:noAutofit/>
          </a:bodyPr>
          <a:lstStyle>
            <a:lvl1pPr marL="0" indent="0">
              <a:buFont typeface="Arial"/>
              <a:buNone/>
              <a:defRPr sz="2000" b="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 sz="1800">
                <a:solidFill>
                  <a:schemeClr val="bg1"/>
                </a:solidFill>
              </a:defRPr>
            </a:lvl2pPr>
            <a:lvl3pPr>
              <a:buNone/>
              <a:defRPr sz="1800">
                <a:solidFill>
                  <a:schemeClr val="bg1"/>
                </a:solidFill>
              </a:defRPr>
            </a:lvl3pPr>
            <a:lvl4pPr>
              <a:buNone/>
              <a:defRPr sz="1800">
                <a:solidFill>
                  <a:schemeClr val="bg1"/>
                </a:solidFill>
              </a:defRPr>
            </a:lvl4pPr>
            <a:lvl5pPr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 name, title, mail</a:t>
            </a: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-3854" y="4932082"/>
            <a:ext cx="12204000" cy="463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36563" y="6379369"/>
            <a:ext cx="1547812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48941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/>
          <p:cNvSpPr>
            <a:spLocks noGrp="1"/>
          </p:cNvSpPr>
          <p:nvPr>
            <p:ph idx="1" hasCustomPrompt="1"/>
          </p:nvPr>
        </p:nvSpPr>
        <p:spPr bwMode="gray">
          <a:xfrm>
            <a:off x="436563" y="1295400"/>
            <a:ext cx="11336337" cy="4800599"/>
          </a:xfrm>
          <a:prstGeom prst="rect">
            <a:avLst/>
          </a:prstGeom>
          <a:noFill/>
        </p:spPr>
        <p:txBody>
          <a:bodyPr vert="horz" lIns="72898" tIns="72898" rIns="72898" bIns="72898" rtlCol="0">
            <a:noAutofit/>
          </a:bodyPr>
          <a:lstStyle>
            <a:lvl1pPr marL="342900" indent="-287338">
              <a:defRPr i="0" baseline="0">
                <a:solidFill>
                  <a:srgbClr val="003C78"/>
                </a:solidFill>
              </a:defRPr>
            </a:lvl1pPr>
            <a:lvl2pPr>
              <a:defRPr i="0" baseline="0"/>
            </a:lvl2pPr>
            <a:lvl3pPr marL="855663" indent="-228600">
              <a:buClr>
                <a:schemeClr val="accent2"/>
              </a:buClr>
              <a:buFont typeface="Wingdings" panose="05000000000000000000" pitchFamily="2" charset="2"/>
              <a:buChar char="à"/>
              <a:defRPr i="0">
                <a:solidFill>
                  <a:schemeClr val="accent2"/>
                </a:solidFill>
              </a:defRPr>
            </a:lvl3pPr>
            <a:lvl6pPr marL="2286000" indent="0">
              <a:buNone/>
              <a:defRPr/>
            </a:lvl6pPr>
          </a:lstStyle>
          <a:p>
            <a:pPr lvl="0"/>
            <a:r>
              <a:rPr lang="en-GB" noProof="0" dirty="0"/>
              <a:t>Click here to add your text or conten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 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396786" y="6463430"/>
            <a:ext cx="1056947" cy="195814"/>
          </a:xfrm>
          <a:prstGeom prst="rect">
            <a:avLst/>
          </a:prstGeom>
          <a:noFill/>
        </p:spPr>
        <p:txBody>
          <a:bodyPr wrap="none" lIns="36000" tIns="36000" rIns="36000" bIns="36000" anchor="ctr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/>
              <a:t>Footer of the presentation</a:t>
            </a:r>
            <a:endParaRPr lang="en-GB" dirty="0"/>
          </a:p>
        </p:txBody>
      </p:sp>
      <p:sp>
        <p:nvSpPr>
          <p:cNvPr id="25" name="Date Placeholder 7"/>
          <p:cNvSpPr>
            <a:spLocks noGrp="1"/>
          </p:cNvSpPr>
          <p:nvPr>
            <p:ph type="dt" sz="half" idx="2"/>
          </p:nvPr>
        </p:nvSpPr>
        <p:spPr bwMode="gray">
          <a:xfrm>
            <a:off x="11784632" y="6716201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530E68-83FA-41FE-AD99-6F56721F1758}" type="datetime1">
              <a:rPr lang="en-US" smtClean="0"/>
              <a:t>10/5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47584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/ The Freed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396786" y="6463430"/>
            <a:ext cx="1056947" cy="195814"/>
          </a:xfrm>
          <a:prstGeom prst="rect">
            <a:avLst/>
          </a:prstGeom>
          <a:noFill/>
        </p:spPr>
        <p:txBody>
          <a:bodyPr wrap="none" lIns="36000" tIns="36000" rIns="36000" bIns="36000" anchor="ctr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19348" y="3175"/>
            <a:ext cx="11772651" cy="80413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2"/>
          </p:nvPr>
        </p:nvSpPr>
        <p:spPr bwMode="gray">
          <a:xfrm>
            <a:off x="11784632" y="6716201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A7D858-1AAD-45A7-B2FF-8BE2C232495E}" type="datetime1">
              <a:rPr lang="en-US" smtClean="0"/>
              <a:t>10/5/2020</a:t>
            </a:fld>
            <a:endParaRPr lang="en-GB" dirty="0"/>
          </a:p>
        </p:txBody>
      </p:sp>
      <p:sp>
        <p:nvSpPr>
          <p:cNvPr id="5" name="Footer Placeholder 23"/>
          <p:cNvSpPr>
            <a:spLocks noGrp="1"/>
          </p:cNvSpPr>
          <p:nvPr>
            <p:ph type="ftr" sz="quarter" idx="14"/>
          </p:nvPr>
        </p:nvSpPr>
        <p:spPr bwMode="gray">
          <a:xfrm>
            <a:off x="6095968" y="6453916"/>
            <a:ext cx="65" cy="184666"/>
          </a:xfrm>
        </p:spPr>
        <p:txBody>
          <a:bodyPr/>
          <a:lstStyle/>
          <a:p>
            <a:r>
              <a:rPr lang="en-GB"/>
              <a:t>Footer of the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34686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Full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935502"/>
            <a:ext cx="12192000" cy="516049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396786" y="6463430"/>
            <a:ext cx="1056947" cy="195814"/>
          </a:xfrm>
          <a:prstGeom prst="rect">
            <a:avLst/>
          </a:prstGeom>
          <a:noFill/>
        </p:spPr>
        <p:txBody>
          <a:bodyPr wrap="none" lIns="36000" tIns="36000" rIns="36000" bIns="36000" anchor="ctr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9348" y="3175"/>
            <a:ext cx="11772651" cy="80413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2"/>
          </p:nvPr>
        </p:nvSpPr>
        <p:spPr>
          <a:xfrm>
            <a:off x="11784632" y="6716201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694392-D859-4ADC-A326-9C32A85DA152}" type="datetime1">
              <a:rPr lang="en-US" smtClean="0"/>
              <a:t>10/5/2020</a:t>
            </a:fld>
            <a:endParaRPr lang="en-GB" dirty="0"/>
          </a:p>
        </p:txBody>
      </p:sp>
      <p:sp>
        <p:nvSpPr>
          <p:cNvPr id="6" name="Footer Placeholder 23"/>
          <p:cNvSpPr>
            <a:spLocks noGrp="1"/>
          </p:cNvSpPr>
          <p:nvPr>
            <p:ph type="ftr" sz="quarter" idx="14"/>
          </p:nvPr>
        </p:nvSpPr>
        <p:spPr>
          <a:xfrm>
            <a:off x="6095968" y="6453916"/>
            <a:ext cx="65" cy="184666"/>
          </a:xfrm>
        </p:spPr>
        <p:txBody>
          <a:bodyPr/>
          <a:lstStyle/>
          <a:p>
            <a:r>
              <a:rPr lang="en-GB"/>
              <a:t>Footer of the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41240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&amp;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2037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9" y="935502"/>
            <a:ext cx="4542310" cy="5922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640080"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5008243" y="1295401"/>
            <a:ext cx="6768000" cy="4800600"/>
          </a:xfrm>
          <a:prstGeom prst="rect">
            <a:avLst/>
          </a:prstGeom>
        </p:spPr>
        <p:txBody>
          <a:bodyPr lIns="72898" tIns="72898" rIns="72898" bIns="72898"/>
          <a:lstStyle>
            <a:lvl1pPr>
              <a:defRPr/>
            </a:lvl1pPr>
            <a:lvl3pPr>
              <a:buClr>
                <a:schemeClr val="accent2"/>
              </a:buCl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text or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396786" y="6463430"/>
            <a:ext cx="1056947" cy="195814"/>
          </a:xfrm>
          <a:prstGeom prst="rect">
            <a:avLst/>
          </a:prstGeom>
          <a:noFill/>
        </p:spPr>
        <p:txBody>
          <a:bodyPr wrap="none" lIns="36000" tIns="36000" rIns="36000" bIns="36000" anchor="ctr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19348" y="3175"/>
            <a:ext cx="11772651" cy="80413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426414" y="6384130"/>
            <a:ext cx="1566000" cy="324000"/>
          </a:xfr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2"/>
          </p:nvPr>
        </p:nvSpPr>
        <p:spPr bwMode="gray">
          <a:xfrm>
            <a:off x="11784632" y="6716201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77A70C-E471-4C4B-AC44-96C9DC09098C}" type="datetime1">
              <a:rPr lang="en-US" smtClean="0"/>
              <a:t>10/5/2020</a:t>
            </a:fld>
            <a:endParaRPr lang="en-GB" dirty="0"/>
          </a:p>
        </p:txBody>
      </p:sp>
      <p:sp>
        <p:nvSpPr>
          <p:cNvPr id="12" name="Footer Placeholder 23"/>
          <p:cNvSpPr>
            <a:spLocks noGrp="1"/>
          </p:cNvSpPr>
          <p:nvPr>
            <p:ph type="ftr" sz="quarter" idx="14"/>
          </p:nvPr>
        </p:nvSpPr>
        <p:spPr bwMode="gray">
          <a:xfrm>
            <a:off x="6095968" y="6453916"/>
            <a:ext cx="65" cy="184666"/>
          </a:xfrm>
        </p:spPr>
        <p:txBody>
          <a:bodyPr/>
          <a:lstStyle/>
          <a:p>
            <a:r>
              <a:rPr lang="en-GB"/>
              <a:t>Footer of the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94432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9034" y="1335086"/>
            <a:ext cx="5579907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8998C-CA0A-48C9-AF67-405FEF9B2566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0459" y="225788"/>
            <a:ext cx="5593568" cy="46800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20459" y="704931"/>
            <a:ext cx="5593568" cy="396000"/>
          </a:xfrm>
        </p:spPr>
        <p:txBody>
          <a:bodyPr vert="horz" lIns="0" tIns="45720" rIns="91440" bIns="45720" rtlCol="0" anchor="t">
            <a:noAutofit/>
          </a:bodyPr>
          <a:lstStyle>
            <a:lvl1pPr>
              <a:defRPr lang="en-US" sz="2000" b="0" cap="all" baseline="0" noProof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subtitle of the slide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E7B0015A-A42C-4141-AEE9-CAB0974FD35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34153" y="226800"/>
            <a:ext cx="5880098" cy="5808240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2577046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B6D0734-1A48-4B27-8EE6-0BA66553A8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25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B6D0734-1A48-4B27-8EE6-0BA66553A8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E9CE3F-DE2A-4DFA-AC7D-EE704178AA1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FECA3FD3-085B-475B-939D-96C252B4AA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"/>
          <a:stretch/>
        </p:blipFill>
        <p:spPr>
          <a:xfrm>
            <a:off x="371475" y="220980"/>
            <a:ext cx="8193405" cy="582168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8934B7DA-FA75-4149-8676-64791F4D6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070989"/>
            <a:ext cx="5857875" cy="523220"/>
          </a:xfrm>
          <a:prstGeom prst="rect">
            <a:avLst/>
          </a:prstGeom>
          <a:noFill/>
          <a:effectLst/>
        </p:spPr>
        <p:txBody>
          <a:bodyPr/>
          <a:lstStyle>
            <a:lvl1pPr>
              <a:defRPr sz="2800"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784825"/>
            <a:ext cx="5857875" cy="442942"/>
          </a:xfrm>
        </p:spPr>
        <p:txBody>
          <a:bodyPr wrap="square" anchor="t">
            <a:spAutoFit/>
          </a:bodyPr>
          <a:lstStyle>
            <a:lvl1pPr marL="457200" indent="-457200">
              <a:spcAft>
                <a:spcPts val="1200"/>
              </a:spcAft>
              <a:buClr>
                <a:schemeClr val="accent1"/>
              </a:buClr>
              <a:buSzPct val="100000"/>
              <a:buFont typeface="+mj-lt"/>
              <a:buAutoNum type="arabicPeriod"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hapter tit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B1C00-EB29-460E-A283-FDB201661196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54014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396786" y="6463430"/>
            <a:ext cx="1056947" cy="195814"/>
          </a:xfrm>
          <a:prstGeom prst="rect">
            <a:avLst/>
          </a:prstGeom>
          <a:noFill/>
        </p:spPr>
        <p:txBody>
          <a:bodyPr wrap="none" lIns="36000" tIns="36000" rIns="36000" bIns="36000" anchor="ctr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19348" y="3175"/>
            <a:ext cx="11772651" cy="80413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8172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795" y="1335086"/>
            <a:ext cx="11757982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C8B13-0B3D-47B1-B48E-9E72E0368E00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20" y="225788"/>
            <a:ext cx="11700000" cy="46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title of the slid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2220" y="693788"/>
            <a:ext cx="11700000" cy="396000"/>
          </a:xfrm>
        </p:spPr>
        <p:txBody>
          <a:bodyPr wrap="none" lIns="0" anchor="t"/>
          <a:lstStyle>
            <a:lvl1pPr marL="0" indent="0">
              <a:lnSpc>
                <a:spcPts val="2400"/>
              </a:lnSpc>
              <a:buNone/>
              <a:defRPr sz="20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066279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égradé bleu clair">
            <a:extLst>
              <a:ext uri="{FF2B5EF4-FFF2-40B4-BE49-F238E27FC236}">
                <a16:creationId xmlns:a16="http://schemas.microsoft.com/office/drawing/2014/main" id="{62F1401A-3135-449C-A91B-6028002194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000" y="2556000"/>
            <a:ext cx="11736000" cy="4068000"/>
          </a:xfrm>
          <a:gradFill>
            <a:gsLst>
              <a:gs pos="0">
                <a:srgbClr val="007DBA">
                  <a:alpha val="49804"/>
                </a:srgbClr>
              </a:gs>
              <a:gs pos="100000">
                <a:schemeClr val="tx2">
                  <a:alpha val="0"/>
                </a:schemeClr>
              </a:gs>
            </a:gsLst>
            <a:lin ang="0" scaled="0"/>
          </a:gradFill>
        </p:spPr>
        <p:txBody>
          <a:bodyPr vert="horz" lIns="91440" tIns="45720" rIns="91440" bIns="45720" rtlCol="0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4" name="Dégradé bleu foncé">
            <a:extLst>
              <a:ext uri="{FF2B5EF4-FFF2-40B4-BE49-F238E27FC236}">
                <a16:creationId xmlns:a16="http://schemas.microsoft.com/office/drawing/2014/main" id="{57DEA0C4-95EF-457F-BE8B-30F22F6EEC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000" y="2556000"/>
            <a:ext cx="11736000" cy="4068000"/>
          </a:xfrm>
          <a:gradFill>
            <a:gsLst>
              <a:gs pos="0">
                <a:srgbClr val="0C1551">
                  <a:alpha val="0"/>
                </a:srgbClr>
              </a:gs>
              <a:gs pos="100000">
                <a:srgbClr val="0C1551">
                  <a:alpha val="80000"/>
                </a:srgbClr>
              </a:gs>
            </a:gsLst>
            <a:lin ang="0" scaled="0"/>
          </a:gradFill>
        </p:spPr>
        <p:txBody>
          <a:bodyPr vert="horz" lIns="91440" tIns="45720" rIns="91440" bIns="45720" rtlCol="0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BABACBC2-191A-44C9-AAC9-FD5F57B2AC16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28000" y="2556000"/>
            <a:ext cx="11736000" cy="4068000"/>
          </a:xfrm>
          <a:gradFill>
            <a:gsLst>
              <a:gs pos="0">
                <a:schemeClr val="tx2"/>
              </a:gs>
              <a:gs pos="74000">
                <a:srgbClr val="0C1452"/>
              </a:gs>
            </a:gsLst>
            <a:lin ang="0" scaled="1"/>
          </a:gradFill>
        </p:spPr>
        <p:txBody>
          <a:bodyPr vert="horz" lIns="2736000" tIns="45720" rIns="91440" bIns="45720" rtlCol="0" anchor="ctr">
            <a:noAutofit/>
          </a:bodyPr>
          <a:lstStyle>
            <a:lvl1pPr>
              <a:defRPr lang="en-US" sz="1400" b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HOTO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F76CB79-1B4F-4507-9C27-0144CCBCE4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41520" y="228600"/>
            <a:ext cx="3124200" cy="223266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50C5EE01-F973-4120-91B8-34CAA765DB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04875" y="2882106"/>
            <a:ext cx="7020000" cy="1440000"/>
          </a:xfrm>
          <a:noFill/>
        </p:spPr>
        <p:txBody>
          <a:bodyPr lIns="0" rIns="0" anchor="b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0AEA671-FC71-4FFA-B81F-CABE73D6E4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04875" y="4325543"/>
            <a:ext cx="7020000" cy="1075132"/>
          </a:xfrm>
        </p:spPr>
        <p:txBody>
          <a:bodyPr lIns="0" rIns="0" anchor="t"/>
          <a:lstStyle>
            <a:lvl1pPr marL="0" indent="0" algn="l">
              <a:lnSpc>
                <a:spcPct val="100000"/>
              </a:lnSpc>
              <a:buNone/>
              <a:defRPr sz="3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subtitle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D5C70EC6-B5A8-4D53-9EB4-6FF24EA5152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704875" y="5257801"/>
            <a:ext cx="7020000" cy="540000"/>
          </a:xfrm>
        </p:spPr>
        <p:txBody>
          <a:bodyPr lIns="0" rIns="0" anchor="t"/>
          <a:lstStyle>
            <a:lvl1pPr marL="0" indent="0">
              <a:buNone/>
              <a:defRPr sz="2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</p:spTree>
    <p:extLst>
      <p:ext uri="{BB962C8B-B14F-4D97-AF65-F5344CB8AC3E}">
        <p14:creationId xmlns:p14="http://schemas.microsoft.com/office/powerpoint/2010/main" val="830273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>
            <a:extLst>
              <a:ext uri="{FF2B5EF4-FFF2-40B4-BE49-F238E27FC236}">
                <a16:creationId xmlns:a16="http://schemas.microsoft.com/office/drawing/2014/main" id="{FECA3FD3-085B-475B-939D-96C252B4AA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760" y="220980"/>
            <a:ext cx="8199120" cy="582168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8934B7DA-FA75-4149-8676-64791F4D6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3830" y="1063784"/>
            <a:ext cx="5396575" cy="572135"/>
          </a:xfrm>
          <a:noFill/>
          <a:effectLst/>
        </p:spPr>
        <p:txBody>
          <a:bodyPr/>
          <a:lstStyle>
            <a:lvl1pPr>
              <a:defRPr sz="2800"/>
            </a:lvl1pPr>
          </a:lstStyle>
          <a:p>
            <a:r>
              <a:rPr lang="en-US" noProof="0"/>
              <a:t>summary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378893" y="1810703"/>
            <a:ext cx="769937" cy="396000"/>
          </a:xfrm>
        </p:spPr>
        <p:txBody>
          <a:bodyPr anchor="t"/>
          <a:lstStyle>
            <a:lvl1pPr marL="0" indent="0" algn="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1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050405" y="1810703"/>
            <a:ext cx="4860000" cy="396000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Title of the chapter 01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A17DB-FCD5-4080-8041-53D8E444E2A8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4F124F5-E8A3-4474-87EB-DE0AC4EB16F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378893" y="2300315"/>
            <a:ext cx="769937" cy="396000"/>
          </a:xfrm>
        </p:spPr>
        <p:txBody>
          <a:bodyPr anchor="t"/>
          <a:lstStyle>
            <a:lvl1pPr marL="0" indent="0" algn="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2.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6CBE25A2-31D8-4167-81FC-5AFD841208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0405" y="2300315"/>
            <a:ext cx="4860000" cy="396000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Title of the chapter 02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2AE87A56-4568-4A5A-93C7-CC10A92D6E3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78893" y="2789927"/>
            <a:ext cx="769937" cy="396000"/>
          </a:xfrm>
        </p:spPr>
        <p:txBody>
          <a:bodyPr anchor="t"/>
          <a:lstStyle>
            <a:lvl1pPr marL="0" indent="0" algn="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3.</a:t>
            </a:r>
          </a:p>
        </p:txBody>
      </p:sp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DED20AA6-ADF7-4B84-9ACD-3E4250306F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50405" y="2789927"/>
            <a:ext cx="4860000" cy="396000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Title of the chapter 03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FEB58F93-4835-422E-84BD-636D1E0F094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378893" y="3279539"/>
            <a:ext cx="769937" cy="396000"/>
          </a:xfrm>
        </p:spPr>
        <p:txBody>
          <a:bodyPr anchor="t"/>
          <a:lstStyle>
            <a:lvl1pPr marL="0" indent="0" algn="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4.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6784AF10-61BC-49E7-ACD6-CA89FF5656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0405" y="3279539"/>
            <a:ext cx="4860000" cy="396000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Title of the chapter 04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07C8A0AC-1C46-412B-B7C5-B3C353BBA7F1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378893" y="3769151"/>
            <a:ext cx="769937" cy="396000"/>
          </a:xfrm>
        </p:spPr>
        <p:txBody>
          <a:bodyPr anchor="t"/>
          <a:lstStyle>
            <a:lvl1pPr marL="0" indent="0" algn="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5.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53CA84B5-57A7-4608-BDE7-823D861A64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50405" y="3769151"/>
            <a:ext cx="4860000" cy="396000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Title of the chapter 05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21B03970-06F3-47A5-B43E-1751A85744AD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78893" y="4258763"/>
            <a:ext cx="769937" cy="396000"/>
          </a:xfrm>
        </p:spPr>
        <p:txBody>
          <a:bodyPr anchor="t"/>
          <a:lstStyle>
            <a:lvl1pPr marL="0" indent="0" algn="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6.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264D9EC1-489B-4B47-85D6-48D8FA6147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50405" y="4258763"/>
            <a:ext cx="4860000" cy="396000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Title of the chapter 06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68437276-A19F-44ED-B1F3-C8E57B57D707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378893" y="4748372"/>
            <a:ext cx="769937" cy="396000"/>
          </a:xfrm>
        </p:spPr>
        <p:txBody>
          <a:bodyPr anchor="t"/>
          <a:lstStyle>
            <a:lvl1pPr marL="0" indent="0" algn="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7.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0D024CA1-FAE7-4372-AC64-994E489B33F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50405" y="4748372"/>
            <a:ext cx="4860000" cy="396000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Title of the chapter 07</a:t>
            </a:r>
          </a:p>
        </p:txBody>
      </p:sp>
    </p:spTree>
    <p:extLst>
      <p:ext uri="{BB962C8B-B14F-4D97-AF65-F5344CB8AC3E}">
        <p14:creationId xmlns:p14="http://schemas.microsoft.com/office/powerpoint/2010/main" val="13540147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3EEAD76B-6410-4FC8-9FA9-CB7F2B99B1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6801" y="226800"/>
            <a:ext cx="11749088" cy="58032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370" y="1900239"/>
            <a:ext cx="2340000" cy="1368000"/>
          </a:xfrm>
          <a:noFill/>
        </p:spPr>
        <p:txBody>
          <a:bodyPr anchor="t"/>
          <a:lstStyle>
            <a:lvl1pPr algn="l">
              <a:defRPr sz="92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##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16370" y="3281681"/>
            <a:ext cx="5256000" cy="1080000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2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20AA41-531C-4E3F-A1F5-2C8B6B5F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E1B40-B704-4174-85DC-737C393BC02F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5DBAA7-CBEF-4D14-B23C-700CE9F74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6D43875-75BA-475B-AA8F-AF9742101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15817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égradé bleu clair">
            <a:extLst>
              <a:ext uri="{FF2B5EF4-FFF2-40B4-BE49-F238E27FC236}">
                <a16:creationId xmlns:a16="http://schemas.microsoft.com/office/drawing/2014/main" id="{D43CA056-B41D-4296-8E0D-114154840E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6800" y="226800"/>
            <a:ext cx="11736000" cy="5803200"/>
          </a:xfrm>
          <a:gradFill>
            <a:gsLst>
              <a:gs pos="0">
                <a:srgbClr val="007DBA">
                  <a:alpha val="49804"/>
                </a:srgbClr>
              </a:gs>
              <a:gs pos="100000">
                <a:schemeClr val="tx2">
                  <a:alpha val="0"/>
                </a:schemeClr>
              </a:gs>
            </a:gsLst>
            <a:lin ang="0" scaled="0"/>
          </a:gradFill>
        </p:spPr>
        <p:txBody>
          <a:bodyPr vert="horz" lIns="91440" tIns="45720" rIns="91440" bIns="45720" rtlCol="0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Dégradé bleu foncé">
            <a:extLst>
              <a:ext uri="{FF2B5EF4-FFF2-40B4-BE49-F238E27FC236}">
                <a16:creationId xmlns:a16="http://schemas.microsoft.com/office/drawing/2014/main" id="{A642BDB5-AFFB-409B-8007-FF0AECB46E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6800" y="226800"/>
            <a:ext cx="11736000" cy="5803200"/>
          </a:xfrm>
          <a:gradFill>
            <a:gsLst>
              <a:gs pos="0">
                <a:srgbClr val="0C1551">
                  <a:alpha val="0"/>
                </a:srgbClr>
              </a:gs>
              <a:gs pos="100000">
                <a:srgbClr val="0C1551">
                  <a:alpha val="80000"/>
                </a:srgbClr>
              </a:gs>
            </a:gsLst>
            <a:lin ang="0" scaled="0"/>
          </a:gradFill>
        </p:spPr>
        <p:txBody>
          <a:bodyPr vert="horz" lIns="91440" tIns="45720" rIns="91440" bIns="45720" rtlCol="0">
            <a:noAutofit/>
          </a:bodyPr>
          <a:lstStyle>
            <a:lvl1pPr>
              <a:defRPr lang="en-US" noProof="0"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id="{61EB6039-5571-4646-AB1A-123A8400C5FC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226800" y="226800"/>
            <a:ext cx="11739600" cy="5802525"/>
          </a:xfrm>
          <a:gradFill>
            <a:gsLst>
              <a:gs pos="0">
                <a:schemeClr val="tx2"/>
              </a:gs>
              <a:gs pos="74000">
                <a:srgbClr val="0C1452"/>
              </a:gs>
            </a:gsLst>
            <a:lin ang="0" scaled="1"/>
          </a:gradFill>
        </p:spPr>
        <p:txBody>
          <a:bodyPr lIns="2736000" anchor="ctr"/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PHOTO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20AA41-531C-4E3F-A1F5-2C8B6B5F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539EC-0711-4543-B907-A6C8F0D3DC52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5DBAA7-CBEF-4D14-B23C-700CE9F74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6D43875-75BA-475B-AA8F-AF9742101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370" y="1900239"/>
            <a:ext cx="2340000" cy="1368000"/>
          </a:xfrm>
          <a:noFill/>
        </p:spPr>
        <p:txBody>
          <a:bodyPr anchor="t"/>
          <a:lstStyle>
            <a:lvl1pPr algn="l">
              <a:defRPr sz="92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##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16370" y="3281681"/>
            <a:ext cx="5256000" cy="1080000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2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</p:spTree>
    <p:extLst>
      <p:ext uri="{BB962C8B-B14F-4D97-AF65-F5344CB8AC3E}">
        <p14:creationId xmlns:p14="http://schemas.microsoft.com/office/powerpoint/2010/main" val="21570252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795" y="1335086"/>
            <a:ext cx="11757982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C8B13-0B3D-47B1-B48E-9E72E0368E00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20" y="225788"/>
            <a:ext cx="11700000" cy="46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title of the slid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2220" y="693788"/>
            <a:ext cx="11700000" cy="396000"/>
          </a:xfrm>
        </p:spPr>
        <p:txBody>
          <a:bodyPr wrap="none" lIns="0" anchor="t"/>
          <a:lstStyle>
            <a:lvl1pPr marL="0" indent="0">
              <a:lnSpc>
                <a:spcPts val="2400"/>
              </a:lnSpc>
              <a:buNone/>
              <a:defRPr sz="20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873393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795" y="1335086"/>
            <a:ext cx="5760000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AD651-45A8-4FED-87DF-EB4C55CE5FCA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20" y="225788"/>
            <a:ext cx="11700000" cy="46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title of the slid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2220" y="693788"/>
            <a:ext cx="11700000" cy="396000"/>
          </a:xfrm>
        </p:spPr>
        <p:txBody>
          <a:bodyPr wrap="none" lIns="0" anchor="t"/>
          <a:lstStyle>
            <a:lvl1pPr marL="0" indent="0">
              <a:lnSpc>
                <a:spcPts val="2400"/>
              </a:lnSpc>
              <a:buNone/>
              <a:defRPr sz="20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 of the slide</a:t>
            </a:r>
          </a:p>
        </p:txBody>
      </p:sp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F834AD48-BBC8-4D79-8F9C-B5BEE349AA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2220" y="1335086"/>
            <a:ext cx="5760000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56165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795" y="1335086"/>
            <a:ext cx="5579907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15B64-17DB-4226-A099-3B2C4882741B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20" y="225788"/>
            <a:ext cx="5593568" cy="468000"/>
          </a:xfrm>
        </p:spPr>
        <p:txBody>
          <a:bodyPr/>
          <a:lstStyle/>
          <a:p>
            <a:r>
              <a:rPr lang="en-US" noProof="0"/>
              <a:t>Click to edit tit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2220" y="704931"/>
            <a:ext cx="5593568" cy="396000"/>
          </a:xfrm>
        </p:spPr>
        <p:txBody>
          <a:bodyPr lIns="0" anchor="t"/>
          <a:lstStyle>
            <a:lvl1pPr marL="0" indent="0">
              <a:buNone/>
              <a:defRPr sz="20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/>
              <a:t>Click to edit subtitle of the slide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E7B0015A-A42C-4141-AEE9-CAB0974FD35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086302" y="226800"/>
            <a:ext cx="5880098" cy="5808240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34774416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&amp;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0318CE3-7738-4179-A576-5A177DB5DF27}"/>
              </a:ext>
            </a:extLst>
          </p:cNvPr>
          <p:cNvSpPr/>
          <p:nvPr userDrawn="1"/>
        </p:nvSpPr>
        <p:spPr>
          <a:xfrm>
            <a:off x="7764463" y="0"/>
            <a:ext cx="4427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795" y="1335086"/>
            <a:ext cx="5579907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4C849D-CC29-4C5E-84A3-514F9DAC4C5B}" type="datetime1">
              <a:rPr lang="en-US" smtClean="0"/>
              <a:t>10/5/2020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of the presentation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20" y="225788"/>
            <a:ext cx="5593568" cy="468000"/>
          </a:xfrm>
        </p:spPr>
        <p:txBody>
          <a:bodyPr/>
          <a:lstStyle/>
          <a:p>
            <a:r>
              <a:rPr lang="en-US" noProof="0"/>
              <a:t>Click to edit tit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2220" y="704931"/>
            <a:ext cx="5593568" cy="396000"/>
          </a:xfrm>
        </p:spPr>
        <p:txBody>
          <a:bodyPr lIns="0" anchor="t"/>
          <a:lstStyle>
            <a:lvl1pPr marL="0" indent="0">
              <a:buNone/>
              <a:defRPr sz="20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/>
              <a:t>Click to edit subtitle of the slide</a:t>
            </a:r>
          </a:p>
        </p:txBody>
      </p:sp>
      <p:sp>
        <p:nvSpPr>
          <p:cNvPr id="16" name="Espace réservé du numéro de diapositive 8">
            <a:extLst>
              <a:ext uri="{FF2B5EF4-FFF2-40B4-BE49-F238E27FC236}">
                <a16:creationId xmlns:a16="http://schemas.microsoft.com/office/drawing/2014/main" id="{8EAA5B27-9EFF-4D82-995A-E937DEC50C07}"/>
              </a:ext>
            </a:extLst>
          </p:cNvPr>
          <p:cNvSpPr txBox="1">
            <a:spLocks/>
          </p:cNvSpPr>
          <p:nvPr userDrawn="1"/>
        </p:nvSpPr>
        <p:spPr>
          <a:xfrm>
            <a:off x="11735427" y="6339959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5A587B-5814-4D9B-9598-FE9CB954CB01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7" name="Connecteur droit 10">
            <a:extLst>
              <a:ext uri="{FF2B5EF4-FFF2-40B4-BE49-F238E27FC236}">
                <a16:creationId xmlns:a16="http://schemas.microsoft.com/office/drawing/2014/main" id="{4CBFEBF0-710F-4DB3-9671-92892BADB42B}"/>
              </a:ext>
            </a:extLst>
          </p:cNvPr>
          <p:cNvCxnSpPr/>
          <p:nvPr userDrawn="1"/>
        </p:nvCxnSpPr>
        <p:spPr>
          <a:xfrm>
            <a:off x="11649242" y="6375681"/>
            <a:ext cx="0" cy="14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4228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CE2ED8-1C60-4EA9-AC5A-86B27FE21C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55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CE2ED8-1C60-4EA9-AC5A-86B27FE21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3EEAD76B-6410-4FC8-9FA9-CB7F2B99B1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801" y="226800"/>
            <a:ext cx="11727074" cy="5803200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20AA41-531C-4E3F-A1F5-2C8B6B5F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122AD6-9C8F-4D6B-A085-BFBF1B7CEDBB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5DBAA7-CBEF-4D14-B23C-700CE9F74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3415" y="1915058"/>
            <a:ext cx="1638269" cy="1190092"/>
          </a:xfrm>
          <a:prstGeom prst="rect">
            <a:avLst/>
          </a:prstGeom>
          <a:noFill/>
        </p:spPr>
        <p:txBody>
          <a:bodyPr wrap="none" tIns="36000" bIns="36000" anchor="t">
            <a:noAutofit/>
          </a:bodyPr>
          <a:lstStyle>
            <a:lvl1pPr algn="l" rtl="0">
              <a:defRPr sz="92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##.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103415" y="3281681"/>
            <a:ext cx="5869510" cy="503590"/>
          </a:xfrm>
        </p:spPr>
        <p:txBody>
          <a:bodyPr wrap="square" lIns="0" tIns="36000" rIns="72000" bIns="36000" anchor="t">
            <a:spAutoFit/>
          </a:bodyPr>
          <a:lstStyle>
            <a:lvl1pPr marL="0" indent="0" algn="l" rtl="0">
              <a:lnSpc>
                <a:spcPct val="100000"/>
              </a:lnSpc>
              <a:buNone/>
              <a:defRPr sz="2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251581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195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9034" y="1335086"/>
            <a:ext cx="5579907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C9F3F-7D39-4C7D-8EA7-51AE68612877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0459" y="225788"/>
            <a:ext cx="5593568" cy="46800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20459" y="704931"/>
            <a:ext cx="5593568" cy="396000"/>
          </a:xfrm>
        </p:spPr>
        <p:txBody>
          <a:bodyPr vert="horz" lIns="0" tIns="45720" rIns="91440" bIns="45720" rtlCol="0" anchor="t">
            <a:noAutofit/>
          </a:bodyPr>
          <a:lstStyle>
            <a:lvl1pPr>
              <a:defRPr lang="en-US" sz="2000" b="0" cap="all" baseline="0" noProof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subtitle of the slide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E7B0015A-A42C-4141-AEE9-CAB0974FD35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34153" y="226800"/>
            <a:ext cx="5880098" cy="5808240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39413501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169585" y="1295400"/>
            <a:ext cx="5603315" cy="4800600"/>
          </a:xfrm>
          <a:prstGeom prst="rect">
            <a:avLst/>
          </a:prstGeom>
        </p:spPr>
        <p:txBody>
          <a:bodyPr tIns="548640" anchor="ctr"/>
          <a:lstStyle>
            <a:lvl1pPr marL="0" indent="0" algn="ctr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69D1C0-66C7-4A5C-8DE8-5360C90479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946" y="1295400"/>
            <a:ext cx="5433229" cy="486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1EAF1E7D-C971-4F61-B458-419867B5C2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70005" y="6339681"/>
            <a:ext cx="1440000" cy="216000"/>
          </a:xfrm>
        </p:spPr>
        <p:txBody>
          <a:bodyPr/>
          <a:lstStyle/>
          <a:p>
            <a:fld id="{1CA28A16-5BE6-43AA-B324-2ECA2E158551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F3B40886-6E3A-418D-BB3D-B35081B04A8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9270783" y="6339681"/>
            <a:ext cx="2160000" cy="216000"/>
          </a:xfrm>
        </p:spPr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id="{FE223B6D-B3C0-4765-9BDE-9B9B2F6F6CA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534777" y="6339681"/>
            <a:ext cx="504000" cy="216000"/>
          </a:xfrm>
        </p:spPr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0141B798-0B3A-4962-A1CD-83079327E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20" y="225788"/>
            <a:ext cx="11700000" cy="46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0576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Full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33167" y="1295400"/>
            <a:ext cx="11339733" cy="4800600"/>
          </a:xfrm>
          <a:prstGeom prst="rect">
            <a:avLst/>
          </a:prstGeom>
        </p:spPr>
        <p:txBody>
          <a:bodyPr tIns="548640" anchor="ctr"/>
          <a:lstStyle>
            <a:lvl1pPr marL="0" indent="0" algn="ctr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428A8475-41F7-41F1-B53E-29726EF77C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70005" y="6339681"/>
            <a:ext cx="1440000" cy="216000"/>
          </a:xfrm>
        </p:spPr>
        <p:txBody>
          <a:bodyPr/>
          <a:lstStyle/>
          <a:p>
            <a:fld id="{9FC73AE0-CDB6-4291-A47A-91DEC950BE85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62674824-0D7A-4C77-8B14-B6D52708C8E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9270783" y="6339681"/>
            <a:ext cx="2160000" cy="216000"/>
          </a:xfrm>
        </p:spPr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13" name="Espace réservé du numéro de diapositive 5">
            <a:extLst>
              <a:ext uri="{FF2B5EF4-FFF2-40B4-BE49-F238E27FC236}">
                <a16:creationId xmlns:a16="http://schemas.microsoft.com/office/drawing/2014/main" id="{0B70356C-5D8C-496A-B397-B5DF8A65DE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534777" y="6339681"/>
            <a:ext cx="504000" cy="216000"/>
          </a:xfrm>
        </p:spPr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9C34C1D8-8FDA-4339-974D-911B957F9E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20" y="225788"/>
            <a:ext cx="11700000" cy="46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6926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CFBBF-2882-47D5-ACFE-C0320326AB18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220" y="225788"/>
            <a:ext cx="11700000" cy="46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title of the slid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2220" y="693788"/>
            <a:ext cx="11700000" cy="396000"/>
          </a:xfrm>
        </p:spPr>
        <p:txBody>
          <a:bodyPr wrap="none" lIns="0" anchor="t"/>
          <a:lstStyle>
            <a:lvl1pPr marL="0" indent="0">
              <a:lnSpc>
                <a:spcPts val="2400"/>
              </a:lnSpc>
              <a:buNone/>
              <a:defRPr sz="20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720180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4436C-384B-432B-B4B4-834560F4C32D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274615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3EEAD76B-6410-4FC8-9FA9-CB7F2B99B1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6801" y="226800"/>
            <a:ext cx="11749088" cy="5803200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78777" y="2635578"/>
            <a:ext cx="5256000" cy="562084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HANK YOU !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20AA41-531C-4E3F-A1F5-2C8B6B5F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01AAB-420B-4F43-B0BA-8018DA29F79B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5DBAA7-CBEF-4D14-B23C-700CE9F74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6D43875-75BA-475B-AA8F-AF9742101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8ADA-4DF8-4AC7-89C5-A79FE48108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18250" y="3660339"/>
            <a:ext cx="4008438" cy="358641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rname NA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7FEEAA-DB33-4DE9-960E-763BC32A21D3}"/>
              </a:ext>
            </a:extLst>
          </p:cNvPr>
          <p:cNvSpPr txBox="1"/>
          <p:nvPr userDrawn="1"/>
        </p:nvSpPr>
        <p:spPr>
          <a:xfrm>
            <a:off x="6278777" y="3322360"/>
            <a:ext cx="16387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CONTACT</a:t>
            </a:r>
            <a:endParaRPr lang="fr-FR" b="1" dirty="0">
              <a:solidFill>
                <a:schemeClr val="accent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2A4DC3E-0A65-4E26-B821-16FD6589FC3F}"/>
              </a:ext>
            </a:extLst>
          </p:cNvPr>
          <p:cNvCxnSpPr/>
          <p:nvPr userDrawn="1"/>
        </p:nvCxnSpPr>
        <p:spPr>
          <a:xfrm>
            <a:off x="6373005" y="3608236"/>
            <a:ext cx="3679501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5284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Eutels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62" name="Picture 18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-1" y="-1"/>
            <a:ext cx="12192001" cy="68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29994" y="3190443"/>
            <a:ext cx="10627782" cy="587643"/>
          </a:xfrm>
          <a:prstGeom prst="rect">
            <a:avLst/>
          </a:prstGeom>
        </p:spPr>
        <p:txBody>
          <a:bodyPr lIns="36000" tIns="36000" rIns="36000" bIns="36000" anchor="b">
            <a:normAutofit/>
          </a:bodyPr>
          <a:lstStyle>
            <a:lvl1pPr>
              <a:defRPr sz="32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29994" y="3778086"/>
            <a:ext cx="10627782" cy="546100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1pPr marL="0" indent="0">
              <a:buFont typeface="Arial"/>
              <a:buNone/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 sz="1800">
                <a:solidFill>
                  <a:schemeClr val="bg1"/>
                </a:solidFill>
              </a:defRPr>
            </a:lvl2pPr>
            <a:lvl3pPr>
              <a:buNone/>
              <a:defRPr sz="1800">
                <a:solidFill>
                  <a:schemeClr val="bg1"/>
                </a:solidFill>
              </a:defRPr>
            </a:lvl3pPr>
            <a:lvl4pPr>
              <a:buNone/>
              <a:defRPr sz="1800">
                <a:solidFill>
                  <a:schemeClr val="bg1"/>
                </a:solidFill>
              </a:defRPr>
            </a:lvl4pPr>
            <a:lvl5pPr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 sub title</a:t>
            </a:r>
          </a:p>
        </p:txBody>
      </p:sp>
      <p:sp>
        <p:nvSpPr>
          <p:cNvPr id="9" name="Espace réservé du texte 1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29994" y="4343306"/>
            <a:ext cx="10627782" cy="546100"/>
          </a:xfrm>
          <a:prstGeom prst="rect">
            <a:avLst/>
          </a:prstGeom>
        </p:spPr>
        <p:txBody>
          <a:bodyPr lIns="36000" tIns="36000" rIns="36000" bIns="36000" anchor="b">
            <a:noAutofit/>
          </a:bodyPr>
          <a:lstStyle>
            <a:lvl1pPr marL="0" indent="0">
              <a:buFont typeface="Arial"/>
              <a:buNone/>
              <a:defRPr sz="2000" b="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 sz="1800">
                <a:solidFill>
                  <a:schemeClr val="bg1"/>
                </a:solidFill>
              </a:defRPr>
            </a:lvl2pPr>
            <a:lvl3pPr>
              <a:buNone/>
              <a:defRPr sz="1800">
                <a:solidFill>
                  <a:schemeClr val="bg1"/>
                </a:solidFill>
              </a:defRPr>
            </a:lvl3pPr>
            <a:lvl4pPr>
              <a:buNone/>
              <a:defRPr sz="1800">
                <a:solidFill>
                  <a:schemeClr val="bg1"/>
                </a:solidFill>
              </a:defRPr>
            </a:lvl4pPr>
            <a:lvl5pPr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 name, title, mail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36563" y="6379369"/>
            <a:ext cx="1547812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639568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&amp;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9" y="935502"/>
            <a:ext cx="4542310" cy="5922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640080"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5008243" y="1295401"/>
            <a:ext cx="6768000" cy="4800600"/>
          </a:xfrm>
          <a:prstGeom prst="rect">
            <a:avLst/>
          </a:prstGeom>
        </p:spPr>
        <p:txBody>
          <a:bodyPr lIns="72898" tIns="72898" rIns="72898" bIns="72898"/>
          <a:lstStyle>
            <a:lvl1pPr>
              <a:defRPr/>
            </a:lvl1pPr>
            <a:lvl3pPr>
              <a:buClr>
                <a:schemeClr val="accent2"/>
              </a:buCl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text or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396786" y="6463430"/>
            <a:ext cx="1056947" cy="195814"/>
          </a:xfrm>
          <a:prstGeom prst="rect">
            <a:avLst/>
          </a:prstGeom>
          <a:noFill/>
        </p:spPr>
        <p:txBody>
          <a:bodyPr wrap="none" lIns="36000" tIns="36000" rIns="36000" bIns="36000" anchor="ctr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19348" y="3175"/>
            <a:ext cx="11772651" cy="80413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426414" y="6384130"/>
            <a:ext cx="1566000" cy="324000"/>
          </a:xfr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2"/>
          </p:nvPr>
        </p:nvSpPr>
        <p:spPr bwMode="gray">
          <a:xfrm>
            <a:off x="11784632" y="6716201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CFD407-B2AC-47EF-BE83-FB3E9CB43D43}" type="datetime1">
              <a:rPr lang="en-US" smtClean="0"/>
              <a:t>10/5/2020</a:t>
            </a:fld>
            <a:endParaRPr lang="en-GB" dirty="0"/>
          </a:p>
        </p:txBody>
      </p:sp>
      <p:sp>
        <p:nvSpPr>
          <p:cNvPr id="12" name="Footer Placeholder 23"/>
          <p:cNvSpPr>
            <a:spLocks noGrp="1"/>
          </p:cNvSpPr>
          <p:nvPr>
            <p:ph type="ftr" sz="quarter" idx="14"/>
          </p:nvPr>
        </p:nvSpPr>
        <p:spPr bwMode="gray">
          <a:xfrm>
            <a:off x="6095968" y="6453916"/>
            <a:ext cx="65" cy="184666"/>
          </a:xfrm>
        </p:spPr>
        <p:txBody>
          <a:bodyPr/>
          <a:lstStyle/>
          <a:p>
            <a:r>
              <a:rPr lang="en-GB"/>
              <a:t>Footer of the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36179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/>
          <p:cNvSpPr>
            <a:spLocks noGrp="1"/>
          </p:cNvSpPr>
          <p:nvPr>
            <p:ph idx="1" hasCustomPrompt="1"/>
          </p:nvPr>
        </p:nvSpPr>
        <p:spPr bwMode="gray">
          <a:xfrm>
            <a:off x="436563" y="1295400"/>
            <a:ext cx="11336337" cy="4800599"/>
          </a:xfrm>
          <a:prstGeom prst="rect">
            <a:avLst/>
          </a:prstGeom>
          <a:noFill/>
        </p:spPr>
        <p:txBody>
          <a:bodyPr vert="horz" lIns="72898" tIns="72898" rIns="72898" bIns="72898" rtlCol="0">
            <a:noAutofit/>
          </a:bodyPr>
          <a:lstStyle>
            <a:lvl1pPr marL="342900" indent="-287338">
              <a:defRPr i="0" baseline="0">
                <a:solidFill>
                  <a:srgbClr val="003C78"/>
                </a:solidFill>
              </a:defRPr>
            </a:lvl1pPr>
            <a:lvl2pPr>
              <a:defRPr i="0" baseline="0"/>
            </a:lvl2pPr>
            <a:lvl3pPr marL="855663" indent="-228600">
              <a:buClr>
                <a:schemeClr val="accent2"/>
              </a:buClr>
              <a:buFont typeface="Wingdings" panose="05000000000000000000" pitchFamily="2" charset="2"/>
              <a:buChar char="à"/>
              <a:defRPr i="0">
                <a:solidFill>
                  <a:schemeClr val="accent2"/>
                </a:solidFill>
              </a:defRPr>
            </a:lvl3pPr>
            <a:lvl6pPr marL="2286000" indent="0">
              <a:buNone/>
              <a:defRPr/>
            </a:lvl6pPr>
          </a:lstStyle>
          <a:p>
            <a:pPr lvl="0"/>
            <a:r>
              <a:rPr lang="en-GB" noProof="0" dirty="0"/>
              <a:t>Click here to add your text or conten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 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396786" y="6463430"/>
            <a:ext cx="1056947" cy="195814"/>
          </a:xfrm>
          <a:prstGeom prst="rect">
            <a:avLst/>
          </a:prstGeom>
          <a:noFill/>
        </p:spPr>
        <p:txBody>
          <a:bodyPr wrap="none" lIns="36000" tIns="36000" rIns="36000" bIns="36000" anchor="ctr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/>
              <a:t>Footer of the presentation</a:t>
            </a:r>
            <a:endParaRPr lang="en-GB" dirty="0"/>
          </a:p>
        </p:txBody>
      </p:sp>
      <p:sp>
        <p:nvSpPr>
          <p:cNvPr id="25" name="Date Placeholder 7"/>
          <p:cNvSpPr>
            <a:spLocks noGrp="1"/>
          </p:cNvSpPr>
          <p:nvPr>
            <p:ph type="dt" sz="half" idx="2"/>
          </p:nvPr>
        </p:nvSpPr>
        <p:spPr bwMode="gray">
          <a:xfrm>
            <a:off x="11784632" y="6716201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347F7E-5227-4BB9-86E4-A64D9861470B}" type="datetime1">
              <a:rPr lang="en-US" smtClean="0"/>
              <a:t>10/5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24897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/ The Freed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396786" y="6463430"/>
            <a:ext cx="1056947" cy="195814"/>
          </a:xfrm>
          <a:prstGeom prst="rect">
            <a:avLst/>
          </a:prstGeom>
          <a:noFill/>
        </p:spPr>
        <p:txBody>
          <a:bodyPr wrap="none" lIns="36000" tIns="36000" rIns="36000" bIns="36000" anchor="ctr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19348" y="3175"/>
            <a:ext cx="11772651" cy="80413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2"/>
          </p:nvPr>
        </p:nvSpPr>
        <p:spPr bwMode="gray">
          <a:xfrm>
            <a:off x="11784632" y="6716201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88F6FC-ED35-46DF-93BA-ECF8C057F91E}" type="datetime1">
              <a:rPr lang="en-US" smtClean="0"/>
              <a:t>10/5/2020</a:t>
            </a:fld>
            <a:endParaRPr lang="en-GB" dirty="0"/>
          </a:p>
        </p:txBody>
      </p:sp>
      <p:sp>
        <p:nvSpPr>
          <p:cNvPr id="5" name="Footer Placeholder 23"/>
          <p:cNvSpPr>
            <a:spLocks noGrp="1"/>
          </p:cNvSpPr>
          <p:nvPr>
            <p:ph type="ftr" sz="quarter" idx="14"/>
          </p:nvPr>
        </p:nvSpPr>
        <p:spPr bwMode="gray">
          <a:xfrm>
            <a:off x="6095968" y="6453916"/>
            <a:ext cx="65" cy="184666"/>
          </a:xfrm>
        </p:spPr>
        <p:txBody>
          <a:bodyPr/>
          <a:lstStyle/>
          <a:p>
            <a:r>
              <a:rPr lang="en-GB"/>
              <a:t>Footer of the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32327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AAAB39-544C-48ED-94AB-DBD7E3CD73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079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AAAB39-544C-48ED-94AB-DBD7E3CD73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064F81F-B770-43DC-A6BE-19547C5ED7C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3B0992-D607-45FC-B720-B8BBB866A9C6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8" y="702413"/>
            <a:ext cx="11726862" cy="417285"/>
          </a:xfrm>
        </p:spPr>
        <p:txBody>
          <a:bodyPr wrap="square" lIns="0" tIns="72000" anchor="t">
            <a:spAutoFit/>
          </a:bodyPr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2" name="Espace réservé du titre 1">
            <a:extLst>
              <a:ext uri="{FF2B5EF4-FFF2-40B4-BE49-F238E27FC236}">
                <a16:creationId xmlns:a16="http://schemas.microsoft.com/office/drawing/2014/main" id="{4F47329B-87EE-4E29-9787-4E4B3AC92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998" y="234085"/>
            <a:ext cx="3624134" cy="451406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>
            <a:lvl1pPr>
              <a:defRPr/>
            </a:lvl1pPr>
          </a:lstStyle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A6E8F77-F22B-4282-987C-6C71CEA3E17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27013" y="1328738"/>
            <a:ext cx="11736387" cy="4872037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D6A387-6F83-4EBE-A7B6-35E0877E28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78341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3090" y="0"/>
            <a:ext cx="121890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85929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2560320" rIns="0" anchor="t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Add Picture full fr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599891"/>
            <a:ext cx="12185929" cy="2075107"/>
          </a:xfrm>
          <a:prstGeom prst="rect">
            <a:avLst/>
          </a:prstGeom>
          <a:gradFill>
            <a:gsLst>
              <a:gs pos="0">
                <a:srgbClr val="31C5F5">
                  <a:alpha val="64000"/>
                </a:srgbClr>
              </a:gs>
              <a:gs pos="100000">
                <a:srgbClr val="3F8FCE">
                  <a:alpha val="90000"/>
                </a:srgbClr>
              </a:gs>
            </a:gsLst>
            <a:path path="circle">
              <a:fillToRect l="50000" t="50000" r="50000" b="50000"/>
            </a:path>
          </a:gradFill>
          <a:ln w="5715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ctr"/>
          <a:lstStyle>
            <a:lvl1pPr marL="1484313" indent="0">
              <a:buFontTx/>
              <a:buNone/>
              <a:defRPr sz="2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EDIT CHAPTER TIT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653381"/>
            <a:ext cx="12186000" cy="463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90888" y="6470849"/>
            <a:ext cx="183600" cy="1836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0" rIns="0" bIns="0" rtlCol="0" anchor="ctr">
            <a:noAutofit/>
          </a:bodyPr>
          <a:lstStyle>
            <a:lvl1pPr algn="ctr">
              <a:defRPr sz="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3BF8D623-55B4-43BE-85D7-B0325CAD5DC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426414" y="6384130"/>
            <a:ext cx="1566000" cy="324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Date Placeholder 7"/>
          <p:cNvSpPr>
            <a:spLocks noGrp="1"/>
          </p:cNvSpPr>
          <p:nvPr>
            <p:ph type="dt" sz="half" idx="2"/>
          </p:nvPr>
        </p:nvSpPr>
        <p:spPr>
          <a:xfrm>
            <a:off x="11784632" y="6716201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573F11-E03E-4001-9946-2809F0F95943}" type="datetime1">
              <a:rPr lang="en-US" smtClean="0"/>
              <a:t>10/5/2020</a:t>
            </a:fld>
            <a:endParaRPr lang="en-GB" dirty="0"/>
          </a:p>
        </p:txBody>
      </p:sp>
      <p:sp>
        <p:nvSpPr>
          <p:cNvPr id="10" name="Footer Placeholder 23"/>
          <p:cNvSpPr>
            <a:spLocks noGrp="1"/>
          </p:cNvSpPr>
          <p:nvPr>
            <p:ph type="ftr" sz="quarter" idx="14"/>
          </p:nvPr>
        </p:nvSpPr>
        <p:spPr>
          <a:xfrm>
            <a:off x="6095968" y="6453916"/>
            <a:ext cx="65" cy="184666"/>
          </a:xfrm>
        </p:spPr>
        <p:txBody>
          <a:bodyPr/>
          <a:lstStyle/>
          <a:p>
            <a:r>
              <a:rPr lang="en-GB"/>
              <a:t>Footer of the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8055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08E1FC-9327-42F5-BA28-74511672F4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974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08E1FC-9327-42F5-BA28-74511672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1489C2-D242-4834-AEF4-FE5A75D0C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108B33-3AB7-4FB9-AC25-F2E01C676727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BF74019B-327F-49E1-AE9D-762DC4F8740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8" y="711939"/>
            <a:ext cx="11726862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29365FA-DF0B-4342-A7B7-9FF8A84C194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0868" y="1328738"/>
            <a:ext cx="5761037" cy="48720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7860436-F119-4C25-A01B-AE55511A5BD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98755" y="1328738"/>
            <a:ext cx="5760000" cy="48720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Espace réservé du titre 1">
            <a:extLst>
              <a:ext uri="{FF2B5EF4-FFF2-40B4-BE49-F238E27FC236}">
                <a16:creationId xmlns:a16="http://schemas.microsoft.com/office/drawing/2014/main" id="{7BF2E139-7683-4C0D-8190-FCB1A266FC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F869E3FF-005F-4EEE-BC89-6D1BA2B32B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905616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0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empha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08E1FC-9327-42F5-BA28-74511672F4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49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08E1FC-9327-42F5-BA28-74511672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1489C2-D242-4834-AEF4-FE5A75D0C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B385C9-F259-42DA-A649-EBE514DBF081}"/>
              </a:ext>
            </a:extLst>
          </p:cNvPr>
          <p:cNvSpPr/>
          <p:nvPr userDrawn="1"/>
        </p:nvSpPr>
        <p:spPr>
          <a:xfrm>
            <a:off x="7749451" y="0"/>
            <a:ext cx="442753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BF74019B-327F-49E1-AE9D-762DC4F8740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7" y="711939"/>
            <a:ext cx="7299325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29365FA-DF0B-4342-A7B7-9FF8A84C194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27011" y="1328738"/>
            <a:ext cx="7309243" cy="48720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Espace réservé du titre 1">
            <a:extLst>
              <a:ext uri="{FF2B5EF4-FFF2-40B4-BE49-F238E27FC236}">
                <a16:creationId xmlns:a16="http://schemas.microsoft.com/office/drawing/2014/main" id="{7BF2E139-7683-4C0D-8190-FCB1A266FC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F869E3FF-005F-4EEE-BC89-6D1BA2B32B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86E029-97C5-4EC9-BC3B-887DCC7245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49451" y="711940"/>
            <a:ext cx="4427537" cy="6146060"/>
          </a:xfrm>
          <a:noFill/>
        </p:spPr>
        <p:txBody>
          <a:bodyPr lIns="180000" tIns="72000" rIns="180000" bIns="72000"/>
          <a:lstStyle>
            <a:lvl1pPr>
              <a:buClr>
                <a:schemeClr val="tx2"/>
              </a:buClr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70935" y="6597269"/>
            <a:ext cx="461665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41E8979-3461-4F7F-A0B3-BC9C924C4B7F}" type="datetime1">
              <a:rPr lang="en-US" smtClean="0"/>
              <a:t>10/5/2020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769571" y="6386125"/>
            <a:ext cx="763029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of the presentation</a:t>
            </a:r>
          </a:p>
        </p:txBody>
      </p:sp>
      <p:sp>
        <p:nvSpPr>
          <p:cNvPr id="12" name="Espace réservé du numéro de diapositive 8">
            <a:extLst>
              <a:ext uri="{FF2B5EF4-FFF2-40B4-BE49-F238E27FC236}">
                <a16:creationId xmlns:a16="http://schemas.microsoft.com/office/drawing/2014/main" id="{E3B8C6B4-66FA-4A03-91DA-278C29B3070D}"/>
              </a:ext>
            </a:extLst>
          </p:cNvPr>
          <p:cNvSpPr txBox="1">
            <a:spLocks/>
          </p:cNvSpPr>
          <p:nvPr userDrawn="1"/>
        </p:nvSpPr>
        <p:spPr>
          <a:xfrm>
            <a:off x="11735427" y="6339959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5A587B-5814-4D9B-9598-FE9CB954CB01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3" name="Connecteur droit 10">
            <a:extLst>
              <a:ext uri="{FF2B5EF4-FFF2-40B4-BE49-F238E27FC236}">
                <a16:creationId xmlns:a16="http://schemas.microsoft.com/office/drawing/2014/main" id="{10C099C6-3772-4881-B5A0-1B9AB6D9B2A2}"/>
              </a:ext>
            </a:extLst>
          </p:cNvPr>
          <p:cNvCxnSpPr/>
          <p:nvPr userDrawn="1"/>
        </p:nvCxnSpPr>
        <p:spPr>
          <a:xfrm>
            <a:off x="11649242" y="6375681"/>
            <a:ext cx="0" cy="14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930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74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045DFCB-375A-4A39-B446-A87FE60AC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22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045DFCB-375A-4A39-B446-A87FE60AC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6E9AAE4-56B1-4CFA-846A-3D1432CA04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2913" y="1328738"/>
            <a:ext cx="5760000" cy="486634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8F2612-297D-407F-A4CA-5B0580922278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E7B0015A-A42C-4141-AEE9-CAB0974FD35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192002" y="226799"/>
            <a:ext cx="5760000" cy="5973975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Photo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79801108-10C9-4FB3-81D3-873C23220A1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4227" y="711939"/>
            <a:ext cx="5760000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5" name="Espace réservé du titre 1">
            <a:extLst>
              <a:ext uri="{FF2B5EF4-FFF2-40B4-BE49-F238E27FC236}">
                <a16:creationId xmlns:a16="http://schemas.microsoft.com/office/drawing/2014/main" id="{EC4C8634-0D2A-4791-AE7C-6EF14FBF0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CC2D75F2-86A8-4732-9C68-D54CFE7F5D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477441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0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3696C1-0061-44A3-BC62-D0170BC81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8893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3696C1-0061-44A3-BC62-D0170BC81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82BFEF-C403-4EDF-A474-3879748EDB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6207" y="1335086"/>
            <a:ext cx="5760000" cy="486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EFB7F-AECB-4703-B2B0-1118D7E2925E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E7B0015A-A42C-4141-AEE9-CAB0974FD35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38518" y="226799"/>
            <a:ext cx="5760000" cy="5973975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Photo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E302C311-F5CF-4FD3-B247-77DF94DA743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196207" y="711939"/>
            <a:ext cx="5760000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5" name="Espace réservé du titre 1">
            <a:extLst>
              <a:ext uri="{FF2B5EF4-FFF2-40B4-BE49-F238E27FC236}">
                <a16:creationId xmlns:a16="http://schemas.microsoft.com/office/drawing/2014/main" id="{6A570E1D-554D-4EFD-9D55-65CD5B650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6207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AB97B3E-5395-4C8D-8B59-B598ED4CC4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941350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C5C90BF-9343-4577-BC1F-29077F02A2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577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C5C90BF-9343-4577-BC1F-29077F02A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184900" y="1328738"/>
            <a:ext cx="5760000" cy="4864100"/>
          </a:xfrm>
          <a:prstGeom prst="rect">
            <a:avLst/>
          </a:prstGeom>
        </p:spPr>
        <p:txBody>
          <a:bodyPr tIns="548640" anchor="ctr"/>
          <a:lstStyle>
            <a:lvl1pPr marL="0" indent="0" algn="ctr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69D1C0-66C7-4A5C-8DE8-5360C90479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7013" y="1337604"/>
            <a:ext cx="5760000" cy="48641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896938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CE70EDE6-16B8-4360-88C2-7AA22838207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8" y="711939"/>
            <a:ext cx="11726862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4" name="Espace réservé du titre 1">
            <a:extLst>
              <a:ext uri="{FF2B5EF4-FFF2-40B4-BE49-F238E27FC236}">
                <a16:creationId xmlns:a16="http://schemas.microsoft.com/office/drawing/2014/main" id="{17BE308E-25C6-4408-A670-598A230AE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C3E888B0-7276-419E-AB97-E083680916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  <p:sp>
        <p:nvSpPr>
          <p:cNvPr id="18" name="Espace réservé de la date 3">
            <a:extLst>
              <a:ext uri="{FF2B5EF4-FFF2-40B4-BE49-F238E27FC236}">
                <a16:creationId xmlns:a16="http://schemas.microsoft.com/office/drawing/2014/main" id="{51A85611-61E1-4900-891B-EC0D809CD5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6600" y="6597269"/>
            <a:ext cx="3600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800" b="1">
                <a:solidFill>
                  <a:schemeClr val="bg2"/>
                </a:solidFill>
              </a:defRPr>
            </a:lvl1pPr>
          </a:lstStyle>
          <a:p>
            <a:fld id="{ED14CBFA-2580-4D04-97B1-D3B0145C82B8}" type="datetime1">
              <a:rPr lang="en-US" smtClean="0"/>
              <a:t>10/5/2020</a:t>
            </a:fld>
            <a:endParaRPr lang="en-US" dirty="0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4385C0AF-186E-44E0-BB74-3E7801237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96600" y="6386125"/>
            <a:ext cx="3600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800" b="1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Footer of the presentation</a:t>
            </a:r>
            <a:endParaRPr lang="en-US" dirty="0"/>
          </a:p>
        </p:txBody>
      </p:sp>
      <p:cxnSp>
        <p:nvCxnSpPr>
          <p:cNvPr id="20" name="Connecteur droit 10">
            <a:extLst>
              <a:ext uri="{FF2B5EF4-FFF2-40B4-BE49-F238E27FC236}">
                <a16:creationId xmlns:a16="http://schemas.microsoft.com/office/drawing/2014/main" id="{34D59C24-8315-4824-AF64-857A35721699}"/>
              </a:ext>
            </a:extLst>
          </p:cNvPr>
          <p:cNvCxnSpPr/>
          <p:nvPr userDrawn="1"/>
        </p:nvCxnSpPr>
        <p:spPr>
          <a:xfrm>
            <a:off x="11649242" y="6375681"/>
            <a:ext cx="0" cy="144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576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12.jpe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87412AC-BA9D-4C3B-9153-1CCD6C272A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13841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26" imgW="383" imgH="384" progId="TCLayout.ActiveDocument.1">
                  <p:embed/>
                </p:oleObj>
              </mc:Choice>
              <mc:Fallback>
                <p:oleObj name="think-cell Slide" r:id="rId2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87412AC-BA9D-4C3B-9153-1CCD6C272A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270079E-1573-45B0-ADE2-CD398C7371B0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611C2FCF-FDB5-4F39-83C6-34E26A7938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634" y="6186488"/>
            <a:ext cx="1814513" cy="535781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3116353-A2DB-400D-836D-10B770C82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9779" y="1335086"/>
            <a:ext cx="11714096" cy="4860000"/>
          </a:xfrm>
          <a:prstGeom prst="rect">
            <a:avLst/>
          </a:prstGeom>
        </p:spPr>
        <p:txBody>
          <a:bodyPr vert="horz" lIns="36449" tIns="36449" rIns="36449" bIns="36449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6600" y="6597269"/>
            <a:ext cx="3600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800" b="1">
                <a:solidFill>
                  <a:schemeClr val="bg2"/>
                </a:solidFill>
              </a:defRPr>
            </a:lvl1pPr>
          </a:lstStyle>
          <a:p>
            <a:fld id="{4FF1A3A6-452F-48AD-88DD-BE5D4EBC6DD7}" type="datetime1">
              <a:rPr lang="en-US" smtClean="0"/>
              <a:t>10/5/2020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96600" y="6386125"/>
            <a:ext cx="3600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800" b="1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Footer of the presentation</a:t>
            </a:r>
            <a:endParaRPr lang="en-US" dirty="0"/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C332AF77-C14B-4B0E-848D-10F9EDBE5903}"/>
              </a:ext>
            </a:extLst>
          </p:cNvPr>
          <p:cNvCxnSpPr/>
          <p:nvPr userDrawn="1"/>
        </p:nvCxnSpPr>
        <p:spPr>
          <a:xfrm>
            <a:off x="11649242" y="6375681"/>
            <a:ext cx="0" cy="144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numéro de diapositive 8">
            <a:extLst>
              <a:ext uri="{FF2B5EF4-FFF2-40B4-BE49-F238E27FC236}">
                <a16:creationId xmlns:a16="http://schemas.microsoft.com/office/drawing/2014/main" id="{DD37ECDE-4B81-46D9-8E0A-C6966A075930}"/>
              </a:ext>
            </a:extLst>
          </p:cNvPr>
          <p:cNvSpPr txBox="1">
            <a:spLocks/>
          </p:cNvSpPr>
          <p:nvPr userDrawn="1"/>
        </p:nvSpPr>
        <p:spPr>
          <a:xfrm>
            <a:off x="11735427" y="6339959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5A587B-5814-4D9B-9598-FE9CB954CB0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64D49FB5-2D01-4A2B-A53B-16E739157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406" y="236832"/>
            <a:ext cx="6455037" cy="451406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marL="0" lvl="0">
              <a:lnSpc>
                <a:spcPts val="2800"/>
              </a:lnSpc>
            </a:pPr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7987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0" r:id="rId2"/>
    <p:sldLayoutId id="2147483651" r:id="rId3"/>
    <p:sldLayoutId id="2147483674" r:id="rId4"/>
    <p:sldLayoutId id="2147483650" r:id="rId5"/>
    <p:sldLayoutId id="2147483676" r:id="rId6"/>
    <p:sldLayoutId id="2147483664" r:id="rId7"/>
    <p:sldLayoutId id="2147483672" r:id="rId8"/>
    <p:sldLayoutId id="2147483670" r:id="rId9"/>
    <p:sldLayoutId id="2147483666" r:id="rId10"/>
    <p:sldLayoutId id="2147483667" r:id="rId11"/>
    <p:sldLayoutId id="2147483668" r:id="rId12"/>
    <p:sldLayoutId id="2147483675" r:id="rId13"/>
    <p:sldLayoutId id="2147483677" r:id="rId14"/>
    <p:sldLayoutId id="2147483679" r:id="rId15"/>
    <p:sldLayoutId id="2147483681" r:id="rId16"/>
    <p:sldLayoutId id="2147483682" r:id="rId17"/>
    <p:sldLayoutId id="2147483683" r:id="rId18"/>
    <p:sldLayoutId id="2147483684" r:id="rId19"/>
    <p:sldLayoutId id="2147483711" r:id="rId20"/>
    <p:sldLayoutId id="2147483734" r:id="rId2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GB" sz="2800" b="0" kern="1200" cap="all" baseline="0" noProof="0" smtClean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bg1"/>
        </a:buClr>
        <a:buSzPct val="25000"/>
        <a:buFont typeface="Arial" panose="020B0604020202020204" pitchFamily="34" charset="0"/>
        <a:buChar char="•"/>
        <a:defRPr lang="en-US" sz="2400" b="0" kern="1200" noProof="0" dirty="0">
          <a:solidFill>
            <a:schemeClr val="bg2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SzPct val="70000"/>
        <a:buFont typeface="Wingdings 3" panose="05040102010807070707" pitchFamily="18" charset="2"/>
        <a:buChar char=""/>
        <a:defRPr lang="en-US" sz="2000" b="0" kern="1200" noProof="0" dirty="0">
          <a:solidFill>
            <a:schemeClr val="tx2"/>
          </a:solidFill>
          <a:latin typeface="+mn-lt"/>
          <a:ea typeface="+mn-ea"/>
          <a:cs typeface="+mn-cs"/>
        </a:defRPr>
      </a:lvl2pPr>
      <a:lvl3pPr marL="534988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SzPct val="100000"/>
        <a:buFont typeface="Wingdings" panose="05000000000000000000" pitchFamily="2" charset="2"/>
        <a:buChar char="à"/>
        <a:defRPr lang="en-US" sz="2000" b="0" kern="1200" noProof="0" dirty="0">
          <a:solidFill>
            <a:schemeClr val="tx2"/>
          </a:solidFill>
          <a:latin typeface="+mn-lt"/>
          <a:ea typeface="+mn-ea"/>
          <a:cs typeface="+mn-cs"/>
        </a:defRPr>
      </a:lvl3pPr>
      <a:lvl4pPr marL="801688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lang="en-US" sz="2000" b="0" kern="1200" noProof="0" dirty="0">
          <a:solidFill>
            <a:schemeClr val="tx2"/>
          </a:solidFill>
          <a:latin typeface="+mn-lt"/>
          <a:ea typeface="+mn-ea"/>
          <a:cs typeface="+mn-cs"/>
        </a:defRPr>
      </a:lvl4pPr>
      <a:lvl5pPr marL="1077913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16192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43" userDrawn="1">
          <p15:clr>
            <a:srgbClr val="F26B43"/>
          </p15:clr>
        </p15:guide>
        <p15:guide id="2" orient="horz" pos="837" userDrawn="1">
          <p15:clr>
            <a:srgbClr val="F26B43"/>
          </p15:clr>
        </p15:guide>
        <p15:guide id="3" pos="7530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4777" y="6339681"/>
            <a:ext cx="504000" cy="21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700" b="1">
                <a:solidFill>
                  <a:schemeClr val="tx2"/>
                </a:solidFill>
              </a:defRPr>
            </a:lvl1pPr>
          </a:lstStyle>
          <a:p>
            <a:fld id="{975A587B-5814-4D9B-9598-FE9CB954CB0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611C2FCF-FDB5-4F39-83C6-34E26A7938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074" y="6186488"/>
            <a:ext cx="1814513" cy="535781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F798E53-107F-468D-A86A-B9E27C8F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220" y="225788"/>
            <a:ext cx="3033049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tx2">
                <a:alpha val="40000"/>
              </a:schemeClr>
            </a:outerShdw>
          </a:effectLst>
        </p:spPr>
        <p:txBody>
          <a:bodyPr vert="horz" wrap="none" lIns="0" tIns="45720" rIns="0" bIns="45720" rtlCol="0" anchor="t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3116353-A2DB-400D-836D-10B770C82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0795" y="1335086"/>
            <a:ext cx="11671425" cy="48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70005" y="6339681"/>
            <a:ext cx="1440000" cy="21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700" b="1">
                <a:solidFill>
                  <a:schemeClr val="tx2"/>
                </a:solidFill>
              </a:defRPr>
            </a:lvl1pPr>
          </a:lstStyle>
          <a:p>
            <a:fld id="{D8E96B6C-2BA6-499F-983C-9B15DC2780F5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270783" y="6339681"/>
            <a:ext cx="2160000" cy="21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7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Footer of the presentation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C332AF77-C14B-4B0E-848D-10F9EDBE5903}"/>
              </a:ext>
            </a:extLst>
          </p:cNvPr>
          <p:cNvCxnSpPr/>
          <p:nvPr userDrawn="1"/>
        </p:nvCxnSpPr>
        <p:spPr>
          <a:xfrm>
            <a:off x="11482388" y="6381749"/>
            <a:ext cx="0" cy="144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7987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702" r:id="rId3"/>
    <p:sldLayoutId id="2147483662" r:id="rId4"/>
    <p:sldLayoutId id="2147483665" r:id="rId5"/>
    <p:sldLayoutId id="2147483703" r:id="rId6"/>
    <p:sldLayoutId id="2147483704" r:id="rId7"/>
    <p:sldLayoutId id="2147483699" r:id="rId8"/>
    <p:sldLayoutId id="2147483705" r:id="rId9"/>
    <p:sldLayoutId id="2147483706" r:id="rId10"/>
    <p:sldLayoutId id="2147483671" r:id="rId11"/>
    <p:sldLayoutId id="2147483707" r:id="rId12"/>
    <p:sldLayoutId id="2147483708" r:id="rId13"/>
    <p:sldLayoutId id="2147483709" r:id="rId14"/>
    <p:sldLayoutId id="2147483685" r:id="rId15"/>
    <p:sldLayoutId id="2147483688" r:id="rId16"/>
    <p:sldLayoutId id="2147483697" r:id="rId17"/>
    <p:sldLayoutId id="2147483690" r:id="rId18"/>
    <p:sldLayoutId id="2147483698" r:id="rId1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3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3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300" b="1" kern="1200">
          <a:solidFill>
            <a:schemeClr val="accent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10000"/>
        </a:lnSpc>
        <a:spcBef>
          <a:spcPts val="0"/>
        </a:spcBef>
        <a:buClr>
          <a:schemeClr val="tx2"/>
        </a:buClr>
        <a:buSzPct val="70000"/>
        <a:buFont typeface="Wingdings 3" panose="05040102010807070707" pitchFamily="18" charset="2"/>
        <a:buChar char="u"/>
        <a:defRPr sz="13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361950" indent="-219075" algn="l" defTabSz="914400" rtl="0" eaLnBrk="1" latinLnBrk="0" hangingPunct="1">
        <a:lnSpc>
          <a:spcPct val="110000"/>
        </a:lnSpc>
        <a:spcBef>
          <a:spcPts val="0"/>
        </a:spcBef>
        <a:buClr>
          <a:schemeClr val="tx2"/>
        </a:buClr>
        <a:buFont typeface="Wingdings" panose="05000000000000000000" pitchFamily="2" charset="2"/>
        <a:buChar char="à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449263" indent="-87313" algn="l" defTabSz="914400" rtl="0" eaLnBrk="1" latinLnBrk="0" hangingPunct="1">
        <a:lnSpc>
          <a:spcPct val="11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jpeg"/><Relationship Id="rId10" Type="http://schemas.openxmlformats.org/officeDocument/2006/relationships/image" Target="../media/image27.pn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29.xml"/><Relationship Id="rId7" Type="http://schemas.openxmlformats.org/officeDocument/2006/relationships/image" Target="../media/image1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31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tags" Target="../tags/tag32.xml"/><Relationship Id="rId7" Type="http://schemas.openxmlformats.org/officeDocument/2006/relationships/image" Target="../media/image35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34.pn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38.png"/><Relationship Id="rId4" Type="http://schemas.openxmlformats.org/officeDocument/2006/relationships/tags" Target="../tags/tag33.xml"/><Relationship Id="rId9" Type="http://schemas.openxmlformats.org/officeDocument/2006/relationships/image" Target="../media/image3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4704875" y="4149490"/>
            <a:ext cx="7020000" cy="1200329"/>
          </a:xfrm>
        </p:spPr>
        <p:txBody>
          <a:bodyPr>
            <a:normAutofit fontScale="90000"/>
          </a:bodyPr>
          <a:lstStyle/>
          <a:p>
            <a:pPr>
              <a:lnSpc>
                <a:spcPts val="3000"/>
              </a:lnSpc>
            </a:pPr>
            <a:r>
              <a:rPr lang="ru-RU" sz="2700" b="1" dirty="0"/>
              <a:t>ЕВТЕЛСАТ</a:t>
            </a:r>
            <a:r>
              <a:rPr lang="fr-FR" sz="2700" b="1" dirty="0"/>
              <a:t> – </a:t>
            </a:r>
            <a:r>
              <a:rPr lang="ru-RU" sz="2700" b="1" dirty="0"/>
              <a:t>ELO</a:t>
            </a:r>
            <a:r>
              <a:rPr lang="fr-FR" sz="2700" b="1" dirty="0"/>
              <a:t>: </a:t>
            </a:r>
            <a:r>
              <a:rPr lang="ru-RU" sz="2700" b="1" dirty="0"/>
              <a:t>ВЫВОДИМ Управление </a:t>
            </a:r>
            <a:br>
              <a:rPr lang="fr-FR" sz="2700" b="1" dirty="0"/>
            </a:br>
            <a:r>
              <a:rPr lang="ru-RU" sz="2700" b="1" dirty="0"/>
              <a:t>физическими объектами через </a:t>
            </a:r>
            <a:br>
              <a:rPr lang="fr-FR" sz="2700" b="1" dirty="0"/>
            </a:br>
            <a:r>
              <a:rPr lang="ru-RU" sz="2700" b="1" dirty="0"/>
              <a:t>Интернет</a:t>
            </a:r>
            <a:r>
              <a:rPr lang="fr-FR" sz="2700" b="1" dirty="0"/>
              <a:t> </a:t>
            </a:r>
            <a:r>
              <a:rPr lang="ru-RU" sz="2700" b="1" dirty="0"/>
              <a:t>(IoT) НА глобальныЙ УРОВЕНЬ</a:t>
            </a:r>
            <a:br>
              <a:rPr lang="ru-RU" sz="2400" b="1" dirty="0"/>
            </a:br>
            <a:endParaRPr lang="ru-RU" sz="2400" b="1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3"/>
          </p:nvPr>
        </p:nvSpPr>
        <p:spPr>
          <a:xfrm>
            <a:off x="4704875" y="5751987"/>
            <a:ext cx="7020000" cy="540000"/>
          </a:xfrm>
        </p:spPr>
        <p:txBody>
          <a:bodyPr/>
          <a:lstStyle/>
          <a:p>
            <a:r>
              <a:rPr lang="ru-RU" sz="2000" b="0" dirty="0"/>
              <a:t>8 октября 2020 г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5B23A9-D915-4060-AD81-91E6BEBEC07E}"/>
              </a:ext>
            </a:extLst>
          </p:cNvPr>
          <p:cNvSpPr/>
          <p:nvPr/>
        </p:nvSpPr>
        <p:spPr>
          <a:xfrm>
            <a:off x="4566703" y="2462141"/>
            <a:ext cx="2100127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b="1" dirty="0">
              <a:solidFill>
                <a:schemeClr val="bg1"/>
              </a:solidFill>
            </a:endParaRPr>
          </a:p>
          <a:p>
            <a:r>
              <a:rPr lang="fr-FR" sz="2400" b="1" dirty="0">
                <a:solidFill>
                  <a:schemeClr val="bg1"/>
                </a:solidFill>
              </a:rPr>
              <a:t>C</a:t>
            </a:r>
            <a:r>
              <a:rPr lang="ru-RU" sz="2400" b="1" dirty="0">
                <a:solidFill>
                  <a:schemeClr val="bg1"/>
                </a:solidFill>
              </a:rPr>
              <a:t>АТКОМРУС</a:t>
            </a:r>
          </a:p>
          <a:p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F407E7C-DEE5-49C1-B3B4-59E84AB23265}"/>
              </a:ext>
            </a:extLst>
          </p:cNvPr>
          <p:cNvSpPr txBox="1">
            <a:spLocks/>
          </p:cNvSpPr>
          <p:nvPr/>
        </p:nvSpPr>
        <p:spPr>
          <a:xfrm>
            <a:off x="4704875" y="5349819"/>
            <a:ext cx="7020000" cy="540000"/>
          </a:xfrm>
          <a:prstGeom prst="rect">
            <a:avLst/>
          </a:prstGeom>
        </p:spPr>
        <p:txBody>
          <a:bodyPr vert="horz" lIns="0" tIns="36449" rIns="0" bIns="36449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lang="en-US" sz="2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70000"/>
              <a:buFont typeface="Wingdings 3" panose="05040102010807070707" pitchFamily="18" charset="2"/>
              <a:buNone/>
              <a:defRPr lang="en-US" sz="20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Wingdings" panose="05000000000000000000" pitchFamily="2" charset="2"/>
              <a:buNone/>
              <a:defRPr lang="en-US" sz="18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None/>
              <a:defRPr lang="en-US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i="1" dirty="0"/>
              <a:t>Николай Орлов, региональный Вице-президент </a:t>
            </a:r>
            <a:r>
              <a:rPr lang="fr-FR" sz="1800" i="1" dirty="0"/>
              <a:t>Eutelsat S.A.</a:t>
            </a:r>
            <a:endParaRPr lang="ru-RU" sz="1800" i="1" dirty="0"/>
          </a:p>
        </p:txBody>
      </p:sp>
    </p:spTree>
    <p:extLst>
      <p:ext uri="{BB962C8B-B14F-4D97-AF65-F5344CB8AC3E}">
        <p14:creationId xmlns:p14="http://schemas.microsoft.com/office/powerpoint/2010/main" val="89877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9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9333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9333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build="p"/>
      <p:bldP spid="8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11DA80B-914C-4C0F-BB4E-9D9C01A6B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3872" y="163581"/>
            <a:ext cx="7139513" cy="804136"/>
          </a:xfrm>
        </p:spPr>
        <p:txBody>
          <a:bodyPr/>
          <a:lstStyle/>
          <a:p>
            <a:r>
              <a:rPr lang="ru-RU" sz="2000" dirty="0"/>
              <a:t>ОСНОВНЫЕ аспекты гибридных услуг </a:t>
            </a:r>
            <a:br>
              <a:rPr lang="ru-RU" sz="2000" dirty="0"/>
            </a:br>
            <a:r>
              <a:rPr lang="ru-RU" sz="2000" dirty="0"/>
              <a:t>по подключению IOT при поддержке ELO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C15E1DD-6004-4434-BAC0-A207D342A31C}"/>
              </a:ext>
            </a:extLst>
          </p:cNvPr>
          <p:cNvGrpSpPr/>
          <p:nvPr/>
        </p:nvGrpSpPr>
        <p:grpSpPr>
          <a:xfrm>
            <a:off x="4871864" y="1340768"/>
            <a:ext cx="7120292" cy="800219"/>
            <a:chOff x="334244" y="2429777"/>
            <a:chExt cx="5648847" cy="80021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422F74-EFCE-4A8C-91E7-B11CECA00133}"/>
                </a:ext>
              </a:extLst>
            </p:cNvPr>
            <p:cNvSpPr/>
            <p:nvPr/>
          </p:nvSpPr>
          <p:spPr>
            <a:xfrm>
              <a:off x="334244" y="2447138"/>
              <a:ext cx="1371053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r"/>
              <a:r>
                <a:rPr lang="ru-RU" sz="1400" b="1" dirty="0">
                  <a:solidFill>
                    <a:schemeClr val="accent1"/>
                  </a:solidFill>
                </a:rPr>
                <a:t>ПОВСЕМЕСТНО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679C88B-A5F6-428C-BB4A-5FB75CA1E440}"/>
                </a:ext>
              </a:extLst>
            </p:cNvPr>
            <p:cNvSpPr/>
            <p:nvPr/>
          </p:nvSpPr>
          <p:spPr>
            <a:xfrm>
              <a:off x="1849162" y="2429777"/>
              <a:ext cx="4133929" cy="800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 b="1">
                  <a:solidFill>
                    <a:schemeClr val="accent1"/>
                  </a:solidFill>
                </a:rPr>
                <a:t>Глобальное покрытие вне помещений с самого первого дня</a:t>
              </a:r>
            </a:p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>
                  <a:solidFill>
                    <a:schemeClr val="tx2"/>
                  </a:solidFill>
                </a:rPr>
                <a:t>Покрытие в помещениях / в городах за счет наземной инфраструктуры</a:t>
              </a:r>
            </a:p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>
                  <a:solidFill>
                    <a:schemeClr val="tx2"/>
                  </a:solidFill>
                </a:rPr>
                <a:t>Время доставки сообщения: От 12 часов (2 спутника) до 1 часа (24 спутника)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A4D8F1C-A478-4359-861D-49AE5E0822A4}"/>
              </a:ext>
            </a:extLst>
          </p:cNvPr>
          <p:cNvGrpSpPr/>
          <p:nvPr/>
        </p:nvGrpSpPr>
        <p:grpSpPr>
          <a:xfrm>
            <a:off x="4871864" y="2696754"/>
            <a:ext cx="6696743" cy="735441"/>
            <a:chOff x="1746102" y="3539769"/>
            <a:chExt cx="5112717" cy="73544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D219031-3574-48AA-9C6E-1795162F2D16}"/>
                </a:ext>
              </a:extLst>
            </p:cNvPr>
            <p:cNvSpPr/>
            <p:nvPr/>
          </p:nvSpPr>
          <p:spPr>
            <a:xfrm>
              <a:off x="1746102" y="3539769"/>
              <a:ext cx="1578282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1"/>
                  </a:solidFill>
                </a:rPr>
                <a:t>ПРОСТО </a:t>
              </a:r>
            </a:p>
            <a:p>
              <a:pPr algn="ctr"/>
              <a:r>
                <a:rPr lang="ru-RU" sz="1400" b="1" dirty="0">
                  <a:solidFill>
                    <a:schemeClr val="accent1"/>
                  </a:solidFill>
                </a:rPr>
                <a:t>И КОМПЛЕКСНО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72B86B6-87EE-4925-81AB-7F898518EF3C}"/>
                </a:ext>
              </a:extLst>
            </p:cNvPr>
            <p:cNvSpPr/>
            <p:nvPr/>
          </p:nvSpPr>
          <p:spPr>
            <a:xfrm>
              <a:off x="3218632" y="3551935"/>
              <a:ext cx="3640187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>
                  <a:solidFill>
                    <a:schemeClr val="tx2"/>
                  </a:solidFill>
                </a:rPr>
                <a:t>Полная совместимость с </a:t>
              </a:r>
              <a:r>
                <a:rPr lang="ru-RU" sz="1200" b="1">
                  <a:solidFill>
                    <a:schemeClr val="accent1"/>
                  </a:solidFill>
                </a:rPr>
                <a:t>технологиями LPWA </a:t>
              </a:r>
              <a:r>
                <a:rPr lang="ru-RU" sz="1200">
                  <a:solidFill>
                    <a:schemeClr val="tx2"/>
                  </a:solidFill>
                </a:rPr>
                <a:t>(Sigfox, LoRaWAN)</a:t>
              </a:r>
            </a:p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>
                  <a:solidFill>
                    <a:schemeClr val="tx2"/>
                  </a:solidFill>
                </a:rPr>
                <a:t>Единый интерфейс для </a:t>
              </a:r>
              <a:r>
                <a:rPr lang="ru-RU" sz="1200" b="1">
                  <a:solidFill>
                    <a:schemeClr val="accent1"/>
                  </a:solidFill>
                </a:rPr>
                <a:t>безразрывной интеграции </a:t>
              </a:r>
              <a:r>
                <a:rPr lang="ru-RU" sz="1200">
                  <a:solidFill>
                    <a:schemeClr val="tx2"/>
                  </a:solidFill>
                </a:rPr>
                <a:t>с уже развернутыми наземными инфраструктурой / системами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5A8DFBA-8ED5-40F6-8D7B-B5D49C07AD81}"/>
              </a:ext>
            </a:extLst>
          </p:cNvPr>
          <p:cNvGrpSpPr/>
          <p:nvPr/>
        </p:nvGrpSpPr>
        <p:grpSpPr>
          <a:xfrm>
            <a:off x="5130208" y="3862842"/>
            <a:ext cx="6953174" cy="800219"/>
            <a:chOff x="8661198" y="2220341"/>
            <a:chExt cx="4718764" cy="800219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A0ADE89A-5D69-4C09-840C-4E0CD6BE9368}"/>
                </a:ext>
              </a:extLst>
            </p:cNvPr>
            <p:cNvSpPr/>
            <p:nvPr/>
          </p:nvSpPr>
          <p:spPr>
            <a:xfrm>
              <a:off x="8661198" y="2298070"/>
              <a:ext cx="101766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1"/>
                  </a:solidFill>
                </a:rPr>
                <a:t>НИЗКАЯ МОЩНОСТЬ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027D01F-8962-4284-BB79-E6A9AC4D3A69}"/>
                </a:ext>
              </a:extLst>
            </p:cNvPr>
            <p:cNvSpPr/>
            <p:nvPr/>
          </p:nvSpPr>
          <p:spPr>
            <a:xfrm>
              <a:off x="9780359" y="2220341"/>
              <a:ext cx="3599603" cy="800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 b="1">
                  <a:solidFill>
                    <a:schemeClr val="accent1"/>
                  </a:solidFill>
                </a:rPr>
                <a:t>Срок службы батареи до 10 лет </a:t>
              </a:r>
              <a:r>
                <a:rPr lang="ru-RU" sz="1200">
                  <a:solidFill>
                    <a:schemeClr val="tx2"/>
                  </a:solidFill>
                </a:rPr>
                <a:t>в системе с 24 спутниками</a:t>
              </a:r>
            </a:p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 b="1">
                  <a:solidFill>
                    <a:schemeClr val="accent1"/>
                  </a:solidFill>
                </a:rPr>
                <a:t>Одинаковые размеры и масса объектов </a:t>
              </a:r>
              <a:r>
                <a:rPr lang="ru-RU" sz="1200">
                  <a:solidFill>
                    <a:schemeClr val="tx2"/>
                  </a:solidFill>
                </a:rPr>
                <a:t>как и существующие только наземные объекты LoRa</a:t>
              </a:r>
            </a:p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 b="1">
                  <a:solidFill>
                    <a:schemeClr val="accent1"/>
                  </a:solidFill>
                </a:rPr>
                <a:t>GPS не требуется </a:t>
              </a:r>
              <a:r>
                <a:rPr lang="ru-RU" sz="1200">
                  <a:solidFill>
                    <a:schemeClr val="tx2"/>
                  </a:solidFill>
                </a:rPr>
                <a:t>для локализации (точность в несколько километров)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0349335-A6D2-497B-9BA7-9874703BADA3}"/>
              </a:ext>
            </a:extLst>
          </p:cNvPr>
          <p:cNvGrpSpPr/>
          <p:nvPr/>
        </p:nvGrpSpPr>
        <p:grpSpPr>
          <a:xfrm>
            <a:off x="5019471" y="5157192"/>
            <a:ext cx="6765156" cy="844201"/>
            <a:chOff x="8101715" y="3430612"/>
            <a:chExt cx="4612864" cy="844201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E21EA12-230C-4505-8F06-053698CC41F0}"/>
                </a:ext>
              </a:extLst>
            </p:cNvPr>
            <p:cNvSpPr/>
            <p:nvPr/>
          </p:nvSpPr>
          <p:spPr>
            <a:xfrm>
              <a:off x="8101715" y="3430612"/>
              <a:ext cx="1046461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1"/>
                  </a:solidFill>
                </a:rPr>
                <a:t>НЕВЫСОКАЯ СТОИМОСТЬ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785A253-E2D7-44A0-BF10-A7CEEB653FF7}"/>
                </a:ext>
              </a:extLst>
            </p:cNvPr>
            <p:cNvSpPr/>
            <p:nvPr/>
          </p:nvSpPr>
          <p:spPr>
            <a:xfrm>
              <a:off x="9308646" y="3474594"/>
              <a:ext cx="3405933" cy="800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>
                  <a:solidFill>
                    <a:schemeClr val="tx2"/>
                  </a:solidFill>
                </a:rPr>
                <a:t>Устройства: </a:t>
              </a:r>
              <a:r>
                <a:rPr lang="ru-RU" sz="1200" b="1">
                  <a:solidFill>
                    <a:schemeClr val="accent1"/>
                  </a:solidFill>
                </a:rPr>
                <a:t>Всего на несколько долларов больше </a:t>
              </a:r>
              <a:r>
                <a:rPr lang="ru-RU" sz="1200">
                  <a:solidFill>
                    <a:schemeClr val="tx2"/>
                  </a:solidFill>
                </a:rPr>
                <a:t>по сравнению с чисто наземными модулями</a:t>
              </a:r>
            </a:p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>
                  <a:solidFill>
                    <a:schemeClr val="tx2"/>
                  </a:solidFill>
                </a:rPr>
                <a:t>Стоимость подключения: </a:t>
              </a:r>
              <a:r>
                <a:rPr lang="ru-RU" sz="1200" b="1">
                  <a:solidFill>
                    <a:schemeClr val="accent1"/>
                  </a:solidFill>
                </a:rPr>
                <a:t>Менее 10 долларов в год на объект </a:t>
              </a:r>
              <a:r>
                <a:rPr lang="ru-RU" sz="1200">
                  <a:solidFill>
                    <a:schemeClr val="tx2"/>
                  </a:solidFill>
                </a:rPr>
                <a:t>для передачи нескольких сообщений в день </a:t>
              </a:r>
            </a:p>
            <a:p>
              <a:pPr marL="266700" lvl="1" indent="-266700">
                <a:spcBef>
                  <a:spcPts val="600"/>
                </a:spcBef>
                <a:buClr>
                  <a:schemeClr val="bg2"/>
                </a:buClr>
                <a:buSzPct val="70000"/>
                <a:buFont typeface="Wingdings 3" panose="05040102010807070707" pitchFamily="18" charset="2"/>
                <a:buChar char=""/>
              </a:pPr>
              <a:r>
                <a:rPr lang="ru-RU" sz="1200">
                  <a:solidFill>
                    <a:schemeClr val="tx2"/>
                  </a:solidFill>
                </a:rPr>
                <a:t>Совокупная стоимость владения: поставлена цель достичь значения в пределах десятков долларов через 5 лет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E2A6F62-D3CF-44CF-BA2F-E6F6029FEF9C}"/>
              </a:ext>
            </a:extLst>
          </p:cNvPr>
          <p:cNvGrpSpPr/>
          <p:nvPr/>
        </p:nvGrpSpPr>
        <p:grpSpPr>
          <a:xfrm>
            <a:off x="5572468" y="5703364"/>
            <a:ext cx="451013" cy="461940"/>
            <a:chOff x="10316563" y="-1640961"/>
            <a:chExt cx="1117600" cy="1317625"/>
          </a:xfrm>
        </p:grpSpPr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6DECFA4C-1CF3-4C5D-96E6-72B15A8CF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8551" y="-637661"/>
              <a:ext cx="195262" cy="244475"/>
            </a:xfrm>
            <a:custGeom>
              <a:avLst/>
              <a:gdLst>
                <a:gd name="T0" fmla="*/ 108 w 245"/>
                <a:gd name="T1" fmla="*/ 2 h 308"/>
                <a:gd name="T2" fmla="*/ 108 w 245"/>
                <a:gd name="T3" fmla="*/ 2 h 308"/>
                <a:gd name="T4" fmla="*/ 96 w 245"/>
                <a:gd name="T5" fmla="*/ 6 h 308"/>
                <a:gd name="T6" fmla="*/ 84 w 245"/>
                <a:gd name="T7" fmla="*/ 7 h 308"/>
                <a:gd name="T8" fmla="*/ 73 w 245"/>
                <a:gd name="T9" fmla="*/ 13 h 308"/>
                <a:gd name="T10" fmla="*/ 63 w 245"/>
                <a:gd name="T11" fmla="*/ 18 h 308"/>
                <a:gd name="T12" fmla="*/ 46 w 245"/>
                <a:gd name="T13" fmla="*/ 28 h 308"/>
                <a:gd name="T14" fmla="*/ 30 w 245"/>
                <a:gd name="T15" fmla="*/ 44 h 308"/>
                <a:gd name="T16" fmla="*/ 19 w 245"/>
                <a:gd name="T17" fmla="*/ 60 h 308"/>
                <a:gd name="T18" fmla="*/ 9 w 245"/>
                <a:gd name="T19" fmla="*/ 79 h 308"/>
                <a:gd name="T20" fmla="*/ 4 w 245"/>
                <a:gd name="T21" fmla="*/ 98 h 308"/>
                <a:gd name="T22" fmla="*/ 0 w 245"/>
                <a:gd name="T23" fmla="*/ 119 h 308"/>
                <a:gd name="T24" fmla="*/ 0 w 245"/>
                <a:gd name="T25" fmla="*/ 141 h 308"/>
                <a:gd name="T26" fmla="*/ 2 w 245"/>
                <a:gd name="T27" fmla="*/ 162 h 308"/>
                <a:gd name="T28" fmla="*/ 6 w 245"/>
                <a:gd name="T29" fmla="*/ 185 h 308"/>
                <a:gd name="T30" fmla="*/ 11 w 245"/>
                <a:gd name="T31" fmla="*/ 206 h 308"/>
                <a:gd name="T32" fmla="*/ 19 w 245"/>
                <a:gd name="T33" fmla="*/ 228 h 308"/>
                <a:gd name="T34" fmla="*/ 30 w 245"/>
                <a:gd name="T35" fmla="*/ 247 h 308"/>
                <a:gd name="T36" fmla="*/ 44 w 245"/>
                <a:gd name="T37" fmla="*/ 265 h 308"/>
                <a:gd name="T38" fmla="*/ 58 w 245"/>
                <a:gd name="T39" fmla="*/ 282 h 308"/>
                <a:gd name="T40" fmla="*/ 58 w 245"/>
                <a:gd name="T41" fmla="*/ 282 h 308"/>
                <a:gd name="T42" fmla="*/ 65 w 245"/>
                <a:gd name="T43" fmla="*/ 289 h 308"/>
                <a:gd name="T44" fmla="*/ 75 w 245"/>
                <a:gd name="T45" fmla="*/ 294 h 308"/>
                <a:gd name="T46" fmla="*/ 84 w 245"/>
                <a:gd name="T47" fmla="*/ 300 h 308"/>
                <a:gd name="T48" fmla="*/ 94 w 245"/>
                <a:gd name="T49" fmla="*/ 303 h 308"/>
                <a:gd name="T50" fmla="*/ 105 w 245"/>
                <a:gd name="T51" fmla="*/ 307 h 308"/>
                <a:gd name="T52" fmla="*/ 117 w 245"/>
                <a:gd name="T53" fmla="*/ 308 h 308"/>
                <a:gd name="T54" fmla="*/ 139 w 245"/>
                <a:gd name="T55" fmla="*/ 308 h 308"/>
                <a:gd name="T56" fmla="*/ 150 w 245"/>
                <a:gd name="T57" fmla="*/ 308 h 308"/>
                <a:gd name="T58" fmla="*/ 160 w 245"/>
                <a:gd name="T59" fmla="*/ 305 h 308"/>
                <a:gd name="T60" fmla="*/ 171 w 245"/>
                <a:gd name="T61" fmla="*/ 303 h 308"/>
                <a:gd name="T62" fmla="*/ 181 w 245"/>
                <a:gd name="T63" fmla="*/ 298 h 308"/>
                <a:gd name="T64" fmla="*/ 190 w 245"/>
                <a:gd name="T65" fmla="*/ 293 h 308"/>
                <a:gd name="T66" fmla="*/ 198 w 245"/>
                <a:gd name="T67" fmla="*/ 287 h 308"/>
                <a:gd name="T68" fmla="*/ 205 w 245"/>
                <a:gd name="T69" fmla="*/ 279 h 308"/>
                <a:gd name="T70" fmla="*/ 211 w 245"/>
                <a:gd name="T71" fmla="*/ 272 h 308"/>
                <a:gd name="T72" fmla="*/ 211 w 245"/>
                <a:gd name="T73" fmla="*/ 272 h 308"/>
                <a:gd name="T74" fmla="*/ 218 w 245"/>
                <a:gd name="T75" fmla="*/ 258 h 308"/>
                <a:gd name="T76" fmla="*/ 223 w 245"/>
                <a:gd name="T77" fmla="*/ 244 h 308"/>
                <a:gd name="T78" fmla="*/ 233 w 245"/>
                <a:gd name="T79" fmla="*/ 213 h 308"/>
                <a:gd name="T80" fmla="*/ 238 w 245"/>
                <a:gd name="T81" fmla="*/ 180 h 308"/>
                <a:gd name="T82" fmla="*/ 242 w 245"/>
                <a:gd name="T83" fmla="*/ 147 h 308"/>
                <a:gd name="T84" fmla="*/ 245 w 245"/>
                <a:gd name="T85" fmla="*/ 113 h 308"/>
                <a:gd name="T86" fmla="*/ 245 w 245"/>
                <a:gd name="T87" fmla="*/ 79 h 308"/>
                <a:gd name="T88" fmla="*/ 245 w 245"/>
                <a:gd name="T89" fmla="*/ 16 h 308"/>
                <a:gd name="T90" fmla="*/ 245 w 245"/>
                <a:gd name="T91" fmla="*/ 16 h 308"/>
                <a:gd name="T92" fmla="*/ 212 w 245"/>
                <a:gd name="T93" fmla="*/ 9 h 308"/>
                <a:gd name="T94" fmla="*/ 178 w 245"/>
                <a:gd name="T95" fmla="*/ 2 h 308"/>
                <a:gd name="T96" fmla="*/ 160 w 245"/>
                <a:gd name="T97" fmla="*/ 0 h 308"/>
                <a:gd name="T98" fmla="*/ 143 w 245"/>
                <a:gd name="T99" fmla="*/ 0 h 308"/>
                <a:gd name="T100" fmla="*/ 125 w 245"/>
                <a:gd name="T101" fmla="*/ 0 h 308"/>
                <a:gd name="T102" fmla="*/ 108 w 245"/>
                <a:gd name="T103" fmla="*/ 2 h 308"/>
                <a:gd name="T104" fmla="*/ 108 w 245"/>
                <a:gd name="T105" fmla="*/ 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5" h="308">
                  <a:moveTo>
                    <a:pt x="108" y="2"/>
                  </a:moveTo>
                  <a:lnTo>
                    <a:pt x="108" y="2"/>
                  </a:lnTo>
                  <a:lnTo>
                    <a:pt x="96" y="6"/>
                  </a:lnTo>
                  <a:lnTo>
                    <a:pt x="84" y="7"/>
                  </a:lnTo>
                  <a:lnTo>
                    <a:pt x="73" y="13"/>
                  </a:lnTo>
                  <a:lnTo>
                    <a:pt x="63" y="18"/>
                  </a:lnTo>
                  <a:lnTo>
                    <a:pt x="46" y="28"/>
                  </a:lnTo>
                  <a:lnTo>
                    <a:pt x="30" y="44"/>
                  </a:lnTo>
                  <a:lnTo>
                    <a:pt x="19" y="60"/>
                  </a:lnTo>
                  <a:lnTo>
                    <a:pt x="9" y="79"/>
                  </a:lnTo>
                  <a:lnTo>
                    <a:pt x="4" y="98"/>
                  </a:lnTo>
                  <a:lnTo>
                    <a:pt x="0" y="119"/>
                  </a:lnTo>
                  <a:lnTo>
                    <a:pt x="0" y="141"/>
                  </a:lnTo>
                  <a:lnTo>
                    <a:pt x="2" y="162"/>
                  </a:lnTo>
                  <a:lnTo>
                    <a:pt x="6" y="185"/>
                  </a:lnTo>
                  <a:lnTo>
                    <a:pt x="11" y="206"/>
                  </a:lnTo>
                  <a:lnTo>
                    <a:pt x="19" y="228"/>
                  </a:lnTo>
                  <a:lnTo>
                    <a:pt x="30" y="247"/>
                  </a:lnTo>
                  <a:lnTo>
                    <a:pt x="44" y="265"/>
                  </a:lnTo>
                  <a:lnTo>
                    <a:pt x="58" y="282"/>
                  </a:lnTo>
                  <a:lnTo>
                    <a:pt x="58" y="282"/>
                  </a:lnTo>
                  <a:lnTo>
                    <a:pt x="65" y="289"/>
                  </a:lnTo>
                  <a:lnTo>
                    <a:pt x="75" y="294"/>
                  </a:lnTo>
                  <a:lnTo>
                    <a:pt x="84" y="300"/>
                  </a:lnTo>
                  <a:lnTo>
                    <a:pt x="94" y="303"/>
                  </a:lnTo>
                  <a:lnTo>
                    <a:pt x="105" y="307"/>
                  </a:lnTo>
                  <a:lnTo>
                    <a:pt x="117" y="308"/>
                  </a:lnTo>
                  <a:lnTo>
                    <a:pt x="139" y="308"/>
                  </a:lnTo>
                  <a:lnTo>
                    <a:pt x="150" y="308"/>
                  </a:lnTo>
                  <a:lnTo>
                    <a:pt x="160" y="305"/>
                  </a:lnTo>
                  <a:lnTo>
                    <a:pt x="171" y="303"/>
                  </a:lnTo>
                  <a:lnTo>
                    <a:pt x="181" y="298"/>
                  </a:lnTo>
                  <a:lnTo>
                    <a:pt x="190" y="293"/>
                  </a:lnTo>
                  <a:lnTo>
                    <a:pt x="198" y="287"/>
                  </a:lnTo>
                  <a:lnTo>
                    <a:pt x="205" y="279"/>
                  </a:lnTo>
                  <a:lnTo>
                    <a:pt x="211" y="272"/>
                  </a:lnTo>
                  <a:lnTo>
                    <a:pt x="211" y="272"/>
                  </a:lnTo>
                  <a:lnTo>
                    <a:pt x="218" y="258"/>
                  </a:lnTo>
                  <a:lnTo>
                    <a:pt x="223" y="244"/>
                  </a:lnTo>
                  <a:lnTo>
                    <a:pt x="233" y="213"/>
                  </a:lnTo>
                  <a:lnTo>
                    <a:pt x="238" y="180"/>
                  </a:lnTo>
                  <a:lnTo>
                    <a:pt x="242" y="147"/>
                  </a:lnTo>
                  <a:lnTo>
                    <a:pt x="245" y="113"/>
                  </a:lnTo>
                  <a:lnTo>
                    <a:pt x="245" y="79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12" y="9"/>
                  </a:lnTo>
                  <a:lnTo>
                    <a:pt x="178" y="2"/>
                  </a:lnTo>
                  <a:lnTo>
                    <a:pt x="160" y="0"/>
                  </a:lnTo>
                  <a:lnTo>
                    <a:pt x="143" y="0"/>
                  </a:lnTo>
                  <a:lnTo>
                    <a:pt x="125" y="0"/>
                  </a:lnTo>
                  <a:lnTo>
                    <a:pt x="108" y="2"/>
                  </a:lnTo>
                  <a:lnTo>
                    <a:pt x="108" y="2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7">
              <a:extLst>
                <a:ext uri="{FF2B5EF4-FFF2-40B4-BE49-F238E27FC236}">
                  <a16:creationId xmlns:a16="http://schemas.microsoft.com/office/drawing/2014/main" id="{2E0EB718-9903-42BC-8616-B9250BED5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7138" y="-629724"/>
              <a:ext cx="195262" cy="246062"/>
            </a:xfrm>
            <a:custGeom>
              <a:avLst/>
              <a:gdLst>
                <a:gd name="T0" fmla="*/ 110 w 247"/>
                <a:gd name="T1" fmla="*/ 2 h 309"/>
                <a:gd name="T2" fmla="*/ 110 w 247"/>
                <a:gd name="T3" fmla="*/ 2 h 309"/>
                <a:gd name="T4" fmla="*/ 97 w 247"/>
                <a:gd name="T5" fmla="*/ 5 h 309"/>
                <a:gd name="T6" fmla="*/ 85 w 247"/>
                <a:gd name="T7" fmla="*/ 7 h 309"/>
                <a:gd name="T8" fmla="*/ 75 w 247"/>
                <a:gd name="T9" fmla="*/ 12 h 309"/>
                <a:gd name="T10" fmla="*/ 64 w 247"/>
                <a:gd name="T11" fmla="*/ 17 h 309"/>
                <a:gd name="T12" fmla="*/ 47 w 247"/>
                <a:gd name="T13" fmla="*/ 28 h 309"/>
                <a:gd name="T14" fmla="*/ 31 w 247"/>
                <a:gd name="T15" fmla="*/ 43 h 309"/>
                <a:gd name="T16" fmla="*/ 19 w 247"/>
                <a:gd name="T17" fmla="*/ 59 h 309"/>
                <a:gd name="T18" fmla="*/ 10 w 247"/>
                <a:gd name="T19" fmla="*/ 78 h 309"/>
                <a:gd name="T20" fmla="*/ 5 w 247"/>
                <a:gd name="T21" fmla="*/ 97 h 309"/>
                <a:gd name="T22" fmla="*/ 2 w 247"/>
                <a:gd name="T23" fmla="*/ 118 h 309"/>
                <a:gd name="T24" fmla="*/ 0 w 247"/>
                <a:gd name="T25" fmla="*/ 141 h 309"/>
                <a:gd name="T26" fmla="*/ 2 w 247"/>
                <a:gd name="T27" fmla="*/ 162 h 309"/>
                <a:gd name="T28" fmla="*/ 7 w 247"/>
                <a:gd name="T29" fmla="*/ 184 h 309"/>
                <a:gd name="T30" fmla="*/ 12 w 247"/>
                <a:gd name="T31" fmla="*/ 207 h 309"/>
                <a:gd name="T32" fmla="*/ 21 w 247"/>
                <a:gd name="T33" fmla="*/ 228 h 309"/>
                <a:gd name="T34" fmla="*/ 31 w 247"/>
                <a:gd name="T35" fmla="*/ 247 h 309"/>
                <a:gd name="T36" fmla="*/ 45 w 247"/>
                <a:gd name="T37" fmla="*/ 266 h 309"/>
                <a:gd name="T38" fmla="*/ 59 w 247"/>
                <a:gd name="T39" fmla="*/ 282 h 309"/>
                <a:gd name="T40" fmla="*/ 59 w 247"/>
                <a:gd name="T41" fmla="*/ 282 h 309"/>
                <a:gd name="T42" fmla="*/ 66 w 247"/>
                <a:gd name="T43" fmla="*/ 289 h 309"/>
                <a:gd name="T44" fmla="*/ 76 w 247"/>
                <a:gd name="T45" fmla="*/ 294 h 309"/>
                <a:gd name="T46" fmla="*/ 85 w 247"/>
                <a:gd name="T47" fmla="*/ 299 h 309"/>
                <a:gd name="T48" fmla="*/ 96 w 247"/>
                <a:gd name="T49" fmla="*/ 302 h 309"/>
                <a:gd name="T50" fmla="*/ 106 w 247"/>
                <a:gd name="T51" fmla="*/ 306 h 309"/>
                <a:gd name="T52" fmla="*/ 118 w 247"/>
                <a:gd name="T53" fmla="*/ 308 h 309"/>
                <a:gd name="T54" fmla="*/ 141 w 247"/>
                <a:gd name="T55" fmla="*/ 309 h 309"/>
                <a:gd name="T56" fmla="*/ 151 w 247"/>
                <a:gd name="T57" fmla="*/ 308 h 309"/>
                <a:gd name="T58" fmla="*/ 162 w 247"/>
                <a:gd name="T59" fmla="*/ 306 h 309"/>
                <a:gd name="T60" fmla="*/ 172 w 247"/>
                <a:gd name="T61" fmla="*/ 302 h 309"/>
                <a:gd name="T62" fmla="*/ 183 w 247"/>
                <a:gd name="T63" fmla="*/ 297 h 309"/>
                <a:gd name="T64" fmla="*/ 191 w 247"/>
                <a:gd name="T65" fmla="*/ 292 h 309"/>
                <a:gd name="T66" fmla="*/ 198 w 247"/>
                <a:gd name="T67" fmla="*/ 287 h 309"/>
                <a:gd name="T68" fmla="*/ 205 w 247"/>
                <a:gd name="T69" fmla="*/ 278 h 309"/>
                <a:gd name="T70" fmla="*/ 212 w 247"/>
                <a:gd name="T71" fmla="*/ 271 h 309"/>
                <a:gd name="T72" fmla="*/ 212 w 247"/>
                <a:gd name="T73" fmla="*/ 271 h 309"/>
                <a:gd name="T74" fmla="*/ 219 w 247"/>
                <a:gd name="T75" fmla="*/ 257 h 309"/>
                <a:gd name="T76" fmla="*/ 224 w 247"/>
                <a:gd name="T77" fmla="*/ 243 h 309"/>
                <a:gd name="T78" fmla="*/ 233 w 247"/>
                <a:gd name="T79" fmla="*/ 212 h 309"/>
                <a:gd name="T80" fmla="*/ 240 w 247"/>
                <a:gd name="T81" fmla="*/ 181 h 309"/>
                <a:gd name="T82" fmla="*/ 243 w 247"/>
                <a:gd name="T83" fmla="*/ 146 h 309"/>
                <a:gd name="T84" fmla="*/ 247 w 247"/>
                <a:gd name="T85" fmla="*/ 113 h 309"/>
                <a:gd name="T86" fmla="*/ 247 w 247"/>
                <a:gd name="T87" fmla="*/ 78 h 309"/>
                <a:gd name="T88" fmla="*/ 247 w 247"/>
                <a:gd name="T89" fmla="*/ 15 h 309"/>
                <a:gd name="T90" fmla="*/ 247 w 247"/>
                <a:gd name="T91" fmla="*/ 15 h 309"/>
                <a:gd name="T92" fmla="*/ 212 w 247"/>
                <a:gd name="T93" fmla="*/ 9 h 309"/>
                <a:gd name="T94" fmla="*/ 179 w 247"/>
                <a:gd name="T95" fmla="*/ 3 h 309"/>
                <a:gd name="T96" fmla="*/ 162 w 247"/>
                <a:gd name="T97" fmla="*/ 0 h 309"/>
                <a:gd name="T98" fmla="*/ 144 w 247"/>
                <a:gd name="T99" fmla="*/ 0 h 309"/>
                <a:gd name="T100" fmla="*/ 127 w 247"/>
                <a:gd name="T101" fmla="*/ 0 h 309"/>
                <a:gd name="T102" fmla="*/ 110 w 247"/>
                <a:gd name="T103" fmla="*/ 2 h 309"/>
                <a:gd name="T104" fmla="*/ 110 w 247"/>
                <a:gd name="T105" fmla="*/ 2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7" h="309">
                  <a:moveTo>
                    <a:pt x="110" y="2"/>
                  </a:moveTo>
                  <a:lnTo>
                    <a:pt x="110" y="2"/>
                  </a:lnTo>
                  <a:lnTo>
                    <a:pt x="97" y="5"/>
                  </a:lnTo>
                  <a:lnTo>
                    <a:pt x="85" y="7"/>
                  </a:lnTo>
                  <a:lnTo>
                    <a:pt x="75" y="12"/>
                  </a:lnTo>
                  <a:lnTo>
                    <a:pt x="64" y="17"/>
                  </a:lnTo>
                  <a:lnTo>
                    <a:pt x="47" y="28"/>
                  </a:lnTo>
                  <a:lnTo>
                    <a:pt x="31" y="43"/>
                  </a:lnTo>
                  <a:lnTo>
                    <a:pt x="19" y="59"/>
                  </a:lnTo>
                  <a:lnTo>
                    <a:pt x="10" y="78"/>
                  </a:lnTo>
                  <a:lnTo>
                    <a:pt x="5" y="97"/>
                  </a:lnTo>
                  <a:lnTo>
                    <a:pt x="2" y="118"/>
                  </a:lnTo>
                  <a:lnTo>
                    <a:pt x="0" y="141"/>
                  </a:lnTo>
                  <a:lnTo>
                    <a:pt x="2" y="162"/>
                  </a:lnTo>
                  <a:lnTo>
                    <a:pt x="7" y="184"/>
                  </a:lnTo>
                  <a:lnTo>
                    <a:pt x="12" y="207"/>
                  </a:lnTo>
                  <a:lnTo>
                    <a:pt x="21" y="228"/>
                  </a:lnTo>
                  <a:lnTo>
                    <a:pt x="31" y="247"/>
                  </a:lnTo>
                  <a:lnTo>
                    <a:pt x="45" y="266"/>
                  </a:lnTo>
                  <a:lnTo>
                    <a:pt x="59" y="282"/>
                  </a:lnTo>
                  <a:lnTo>
                    <a:pt x="59" y="282"/>
                  </a:lnTo>
                  <a:lnTo>
                    <a:pt x="66" y="289"/>
                  </a:lnTo>
                  <a:lnTo>
                    <a:pt x="76" y="294"/>
                  </a:lnTo>
                  <a:lnTo>
                    <a:pt x="85" y="299"/>
                  </a:lnTo>
                  <a:lnTo>
                    <a:pt x="96" y="302"/>
                  </a:lnTo>
                  <a:lnTo>
                    <a:pt x="106" y="306"/>
                  </a:lnTo>
                  <a:lnTo>
                    <a:pt x="118" y="308"/>
                  </a:lnTo>
                  <a:lnTo>
                    <a:pt x="141" y="309"/>
                  </a:lnTo>
                  <a:lnTo>
                    <a:pt x="151" y="308"/>
                  </a:lnTo>
                  <a:lnTo>
                    <a:pt x="162" y="306"/>
                  </a:lnTo>
                  <a:lnTo>
                    <a:pt x="172" y="302"/>
                  </a:lnTo>
                  <a:lnTo>
                    <a:pt x="183" y="297"/>
                  </a:lnTo>
                  <a:lnTo>
                    <a:pt x="191" y="292"/>
                  </a:lnTo>
                  <a:lnTo>
                    <a:pt x="198" y="287"/>
                  </a:lnTo>
                  <a:lnTo>
                    <a:pt x="205" y="278"/>
                  </a:lnTo>
                  <a:lnTo>
                    <a:pt x="212" y="271"/>
                  </a:lnTo>
                  <a:lnTo>
                    <a:pt x="212" y="271"/>
                  </a:lnTo>
                  <a:lnTo>
                    <a:pt x="219" y="257"/>
                  </a:lnTo>
                  <a:lnTo>
                    <a:pt x="224" y="243"/>
                  </a:lnTo>
                  <a:lnTo>
                    <a:pt x="233" y="212"/>
                  </a:lnTo>
                  <a:lnTo>
                    <a:pt x="240" y="181"/>
                  </a:lnTo>
                  <a:lnTo>
                    <a:pt x="243" y="146"/>
                  </a:lnTo>
                  <a:lnTo>
                    <a:pt x="247" y="113"/>
                  </a:lnTo>
                  <a:lnTo>
                    <a:pt x="247" y="78"/>
                  </a:lnTo>
                  <a:lnTo>
                    <a:pt x="247" y="15"/>
                  </a:lnTo>
                  <a:lnTo>
                    <a:pt x="247" y="15"/>
                  </a:lnTo>
                  <a:lnTo>
                    <a:pt x="212" y="9"/>
                  </a:lnTo>
                  <a:lnTo>
                    <a:pt x="179" y="3"/>
                  </a:lnTo>
                  <a:lnTo>
                    <a:pt x="162" y="0"/>
                  </a:lnTo>
                  <a:lnTo>
                    <a:pt x="144" y="0"/>
                  </a:lnTo>
                  <a:lnTo>
                    <a:pt x="127" y="0"/>
                  </a:lnTo>
                  <a:lnTo>
                    <a:pt x="110" y="2"/>
                  </a:lnTo>
                  <a:lnTo>
                    <a:pt x="110" y="2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id="{AC1F525F-86D1-43A8-8960-CE64F68CD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0238" y="-594799"/>
              <a:ext cx="201612" cy="198437"/>
            </a:xfrm>
            <a:custGeom>
              <a:avLst/>
              <a:gdLst>
                <a:gd name="T0" fmla="*/ 238 w 254"/>
                <a:gd name="T1" fmla="*/ 49 h 251"/>
                <a:gd name="T2" fmla="*/ 238 w 254"/>
                <a:gd name="T3" fmla="*/ 49 h 251"/>
                <a:gd name="T4" fmla="*/ 212 w 254"/>
                <a:gd name="T5" fmla="*/ 37 h 251"/>
                <a:gd name="T6" fmla="*/ 181 w 254"/>
                <a:gd name="T7" fmla="*/ 23 h 251"/>
                <a:gd name="T8" fmla="*/ 145 w 254"/>
                <a:gd name="T9" fmla="*/ 11 h 251"/>
                <a:gd name="T10" fmla="*/ 127 w 254"/>
                <a:gd name="T11" fmla="*/ 6 h 251"/>
                <a:gd name="T12" fmla="*/ 108 w 254"/>
                <a:gd name="T13" fmla="*/ 2 h 251"/>
                <a:gd name="T14" fmla="*/ 91 w 254"/>
                <a:gd name="T15" fmla="*/ 0 h 251"/>
                <a:gd name="T16" fmla="*/ 73 w 254"/>
                <a:gd name="T17" fmla="*/ 0 h 251"/>
                <a:gd name="T18" fmla="*/ 58 w 254"/>
                <a:gd name="T19" fmla="*/ 2 h 251"/>
                <a:gd name="T20" fmla="*/ 42 w 254"/>
                <a:gd name="T21" fmla="*/ 6 h 251"/>
                <a:gd name="T22" fmla="*/ 30 w 254"/>
                <a:gd name="T23" fmla="*/ 12 h 251"/>
                <a:gd name="T24" fmla="*/ 19 w 254"/>
                <a:gd name="T25" fmla="*/ 21 h 251"/>
                <a:gd name="T26" fmla="*/ 11 w 254"/>
                <a:gd name="T27" fmla="*/ 33 h 251"/>
                <a:gd name="T28" fmla="*/ 4 w 254"/>
                <a:gd name="T29" fmla="*/ 49 h 251"/>
                <a:gd name="T30" fmla="*/ 4 w 254"/>
                <a:gd name="T31" fmla="*/ 49 h 251"/>
                <a:gd name="T32" fmla="*/ 2 w 254"/>
                <a:gd name="T33" fmla="*/ 63 h 251"/>
                <a:gd name="T34" fmla="*/ 0 w 254"/>
                <a:gd name="T35" fmla="*/ 77 h 251"/>
                <a:gd name="T36" fmla="*/ 0 w 254"/>
                <a:gd name="T37" fmla="*/ 93 h 251"/>
                <a:gd name="T38" fmla="*/ 2 w 254"/>
                <a:gd name="T39" fmla="*/ 106 h 251"/>
                <a:gd name="T40" fmla="*/ 5 w 254"/>
                <a:gd name="T41" fmla="*/ 120 h 251"/>
                <a:gd name="T42" fmla="*/ 9 w 254"/>
                <a:gd name="T43" fmla="*/ 134 h 251"/>
                <a:gd name="T44" fmla="*/ 16 w 254"/>
                <a:gd name="T45" fmla="*/ 148 h 251"/>
                <a:gd name="T46" fmla="*/ 21 w 254"/>
                <a:gd name="T47" fmla="*/ 160 h 251"/>
                <a:gd name="T48" fmla="*/ 28 w 254"/>
                <a:gd name="T49" fmla="*/ 173 h 251"/>
                <a:gd name="T50" fmla="*/ 37 w 254"/>
                <a:gd name="T51" fmla="*/ 185 h 251"/>
                <a:gd name="T52" fmla="*/ 47 w 254"/>
                <a:gd name="T53" fmla="*/ 197 h 251"/>
                <a:gd name="T54" fmla="*/ 56 w 254"/>
                <a:gd name="T55" fmla="*/ 207 h 251"/>
                <a:gd name="T56" fmla="*/ 66 w 254"/>
                <a:gd name="T57" fmla="*/ 216 h 251"/>
                <a:gd name="T58" fmla="*/ 78 w 254"/>
                <a:gd name="T59" fmla="*/ 225 h 251"/>
                <a:gd name="T60" fmla="*/ 91 w 254"/>
                <a:gd name="T61" fmla="*/ 233 h 251"/>
                <a:gd name="T62" fmla="*/ 103 w 254"/>
                <a:gd name="T63" fmla="*/ 239 h 251"/>
                <a:gd name="T64" fmla="*/ 103 w 254"/>
                <a:gd name="T65" fmla="*/ 239 h 251"/>
                <a:gd name="T66" fmla="*/ 115 w 254"/>
                <a:gd name="T67" fmla="*/ 244 h 251"/>
                <a:gd name="T68" fmla="*/ 127 w 254"/>
                <a:gd name="T69" fmla="*/ 247 h 251"/>
                <a:gd name="T70" fmla="*/ 141 w 254"/>
                <a:gd name="T71" fmla="*/ 249 h 251"/>
                <a:gd name="T72" fmla="*/ 153 w 254"/>
                <a:gd name="T73" fmla="*/ 251 h 251"/>
                <a:gd name="T74" fmla="*/ 181 w 254"/>
                <a:gd name="T75" fmla="*/ 251 h 251"/>
                <a:gd name="T76" fmla="*/ 209 w 254"/>
                <a:gd name="T77" fmla="*/ 247 h 251"/>
                <a:gd name="T78" fmla="*/ 209 w 254"/>
                <a:gd name="T79" fmla="*/ 247 h 251"/>
                <a:gd name="T80" fmla="*/ 219 w 254"/>
                <a:gd name="T81" fmla="*/ 247 h 251"/>
                <a:gd name="T82" fmla="*/ 230 w 254"/>
                <a:gd name="T83" fmla="*/ 246 h 251"/>
                <a:gd name="T84" fmla="*/ 238 w 254"/>
                <a:gd name="T85" fmla="*/ 240 h 251"/>
                <a:gd name="T86" fmla="*/ 247 w 254"/>
                <a:gd name="T87" fmla="*/ 233 h 251"/>
                <a:gd name="T88" fmla="*/ 247 w 254"/>
                <a:gd name="T89" fmla="*/ 233 h 251"/>
                <a:gd name="T90" fmla="*/ 252 w 254"/>
                <a:gd name="T91" fmla="*/ 225 h 251"/>
                <a:gd name="T92" fmla="*/ 254 w 254"/>
                <a:gd name="T93" fmla="*/ 216 h 251"/>
                <a:gd name="T94" fmla="*/ 254 w 254"/>
                <a:gd name="T95" fmla="*/ 206 h 251"/>
                <a:gd name="T96" fmla="*/ 252 w 254"/>
                <a:gd name="T97" fmla="*/ 195 h 251"/>
                <a:gd name="T98" fmla="*/ 252 w 254"/>
                <a:gd name="T99" fmla="*/ 195 h 251"/>
                <a:gd name="T100" fmla="*/ 238 w 254"/>
                <a:gd name="T101" fmla="*/ 49 h 251"/>
                <a:gd name="T102" fmla="*/ 238 w 254"/>
                <a:gd name="T103" fmla="*/ 49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4" h="251">
                  <a:moveTo>
                    <a:pt x="238" y="49"/>
                  </a:moveTo>
                  <a:lnTo>
                    <a:pt x="238" y="49"/>
                  </a:lnTo>
                  <a:lnTo>
                    <a:pt x="212" y="37"/>
                  </a:lnTo>
                  <a:lnTo>
                    <a:pt x="181" y="23"/>
                  </a:lnTo>
                  <a:lnTo>
                    <a:pt x="145" y="11"/>
                  </a:lnTo>
                  <a:lnTo>
                    <a:pt x="127" y="6"/>
                  </a:lnTo>
                  <a:lnTo>
                    <a:pt x="108" y="2"/>
                  </a:lnTo>
                  <a:lnTo>
                    <a:pt x="91" y="0"/>
                  </a:lnTo>
                  <a:lnTo>
                    <a:pt x="73" y="0"/>
                  </a:lnTo>
                  <a:lnTo>
                    <a:pt x="58" y="2"/>
                  </a:lnTo>
                  <a:lnTo>
                    <a:pt x="42" y="6"/>
                  </a:lnTo>
                  <a:lnTo>
                    <a:pt x="30" y="12"/>
                  </a:lnTo>
                  <a:lnTo>
                    <a:pt x="19" y="21"/>
                  </a:lnTo>
                  <a:lnTo>
                    <a:pt x="11" y="33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63"/>
                  </a:lnTo>
                  <a:lnTo>
                    <a:pt x="0" y="77"/>
                  </a:lnTo>
                  <a:lnTo>
                    <a:pt x="0" y="93"/>
                  </a:lnTo>
                  <a:lnTo>
                    <a:pt x="2" y="106"/>
                  </a:lnTo>
                  <a:lnTo>
                    <a:pt x="5" y="120"/>
                  </a:lnTo>
                  <a:lnTo>
                    <a:pt x="9" y="134"/>
                  </a:lnTo>
                  <a:lnTo>
                    <a:pt x="16" y="148"/>
                  </a:lnTo>
                  <a:lnTo>
                    <a:pt x="21" y="160"/>
                  </a:lnTo>
                  <a:lnTo>
                    <a:pt x="28" y="173"/>
                  </a:lnTo>
                  <a:lnTo>
                    <a:pt x="37" y="185"/>
                  </a:lnTo>
                  <a:lnTo>
                    <a:pt x="47" y="197"/>
                  </a:lnTo>
                  <a:lnTo>
                    <a:pt x="56" y="207"/>
                  </a:lnTo>
                  <a:lnTo>
                    <a:pt x="66" y="216"/>
                  </a:lnTo>
                  <a:lnTo>
                    <a:pt x="78" y="225"/>
                  </a:lnTo>
                  <a:lnTo>
                    <a:pt x="91" y="233"/>
                  </a:lnTo>
                  <a:lnTo>
                    <a:pt x="103" y="239"/>
                  </a:lnTo>
                  <a:lnTo>
                    <a:pt x="103" y="239"/>
                  </a:lnTo>
                  <a:lnTo>
                    <a:pt x="115" y="244"/>
                  </a:lnTo>
                  <a:lnTo>
                    <a:pt x="127" y="247"/>
                  </a:lnTo>
                  <a:lnTo>
                    <a:pt x="141" y="249"/>
                  </a:lnTo>
                  <a:lnTo>
                    <a:pt x="153" y="251"/>
                  </a:lnTo>
                  <a:lnTo>
                    <a:pt x="181" y="251"/>
                  </a:lnTo>
                  <a:lnTo>
                    <a:pt x="209" y="247"/>
                  </a:lnTo>
                  <a:lnTo>
                    <a:pt x="209" y="247"/>
                  </a:lnTo>
                  <a:lnTo>
                    <a:pt x="219" y="247"/>
                  </a:lnTo>
                  <a:lnTo>
                    <a:pt x="230" y="246"/>
                  </a:lnTo>
                  <a:lnTo>
                    <a:pt x="238" y="240"/>
                  </a:lnTo>
                  <a:lnTo>
                    <a:pt x="247" y="233"/>
                  </a:lnTo>
                  <a:lnTo>
                    <a:pt x="247" y="233"/>
                  </a:lnTo>
                  <a:lnTo>
                    <a:pt x="252" y="225"/>
                  </a:lnTo>
                  <a:lnTo>
                    <a:pt x="254" y="216"/>
                  </a:lnTo>
                  <a:lnTo>
                    <a:pt x="254" y="206"/>
                  </a:lnTo>
                  <a:lnTo>
                    <a:pt x="252" y="195"/>
                  </a:lnTo>
                  <a:lnTo>
                    <a:pt x="252" y="195"/>
                  </a:lnTo>
                  <a:lnTo>
                    <a:pt x="238" y="49"/>
                  </a:lnTo>
                  <a:lnTo>
                    <a:pt x="238" y="49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9">
              <a:extLst>
                <a:ext uri="{FF2B5EF4-FFF2-40B4-BE49-F238E27FC236}">
                  <a16:creationId xmlns:a16="http://schemas.microsoft.com/office/drawing/2014/main" id="{F7B0341A-4055-44C7-B128-7ACD0E218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7201" y="-1282186"/>
              <a:ext cx="352425" cy="311150"/>
            </a:xfrm>
            <a:custGeom>
              <a:avLst/>
              <a:gdLst>
                <a:gd name="T0" fmla="*/ 431 w 445"/>
                <a:gd name="T1" fmla="*/ 190 h 392"/>
                <a:gd name="T2" fmla="*/ 389 w 445"/>
                <a:gd name="T3" fmla="*/ 259 h 392"/>
                <a:gd name="T4" fmla="*/ 360 w 445"/>
                <a:gd name="T5" fmla="*/ 296 h 392"/>
                <a:gd name="T6" fmla="*/ 325 w 445"/>
                <a:gd name="T7" fmla="*/ 331 h 392"/>
                <a:gd name="T8" fmla="*/ 287 w 445"/>
                <a:gd name="T9" fmla="*/ 360 h 392"/>
                <a:gd name="T10" fmla="*/ 249 w 445"/>
                <a:gd name="T11" fmla="*/ 381 h 392"/>
                <a:gd name="T12" fmla="*/ 209 w 445"/>
                <a:gd name="T13" fmla="*/ 392 h 392"/>
                <a:gd name="T14" fmla="*/ 169 w 445"/>
                <a:gd name="T15" fmla="*/ 386 h 392"/>
                <a:gd name="T16" fmla="*/ 151 w 445"/>
                <a:gd name="T17" fmla="*/ 381 h 392"/>
                <a:gd name="T18" fmla="*/ 123 w 445"/>
                <a:gd name="T19" fmla="*/ 360 h 392"/>
                <a:gd name="T20" fmla="*/ 99 w 445"/>
                <a:gd name="T21" fmla="*/ 334 h 392"/>
                <a:gd name="T22" fmla="*/ 80 w 445"/>
                <a:gd name="T23" fmla="*/ 303 h 392"/>
                <a:gd name="T24" fmla="*/ 57 w 445"/>
                <a:gd name="T25" fmla="*/ 251 h 392"/>
                <a:gd name="T26" fmla="*/ 31 w 445"/>
                <a:gd name="T27" fmla="*/ 181 h 392"/>
                <a:gd name="T28" fmla="*/ 17 w 445"/>
                <a:gd name="T29" fmla="*/ 152 h 392"/>
                <a:gd name="T30" fmla="*/ 3 w 445"/>
                <a:gd name="T31" fmla="*/ 117 h 392"/>
                <a:gd name="T32" fmla="*/ 0 w 445"/>
                <a:gd name="T33" fmla="*/ 89 h 392"/>
                <a:gd name="T34" fmla="*/ 0 w 445"/>
                <a:gd name="T35" fmla="*/ 80 h 392"/>
                <a:gd name="T36" fmla="*/ 10 w 445"/>
                <a:gd name="T37" fmla="*/ 54 h 392"/>
                <a:gd name="T38" fmla="*/ 29 w 445"/>
                <a:gd name="T39" fmla="*/ 35 h 392"/>
                <a:gd name="T40" fmla="*/ 54 w 445"/>
                <a:gd name="T41" fmla="*/ 19 h 392"/>
                <a:gd name="T42" fmla="*/ 80 w 445"/>
                <a:gd name="T43" fmla="*/ 9 h 392"/>
                <a:gd name="T44" fmla="*/ 99 w 445"/>
                <a:gd name="T45" fmla="*/ 5 h 392"/>
                <a:gd name="T46" fmla="*/ 137 w 445"/>
                <a:gd name="T47" fmla="*/ 0 h 392"/>
                <a:gd name="T48" fmla="*/ 176 w 445"/>
                <a:gd name="T49" fmla="*/ 2 h 392"/>
                <a:gd name="T50" fmla="*/ 233 w 445"/>
                <a:gd name="T51" fmla="*/ 12 h 392"/>
                <a:gd name="T52" fmla="*/ 308 w 445"/>
                <a:gd name="T53" fmla="*/ 37 h 392"/>
                <a:gd name="T54" fmla="*/ 381 w 445"/>
                <a:gd name="T55" fmla="*/ 70 h 392"/>
                <a:gd name="T56" fmla="*/ 400 w 445"/>
                <a:gd name="T57" fmla="*/ 78 h 392"/>
                <a:gd name="T58" fmla="*/ 426 w 445"/>
                <a:gd name="T59" fmla="*/ 96 h 392"/>
                <a:gd name="T60" fmla="*/ 438 w 445"/>
                <a:gd name="T61" fmla="*/ 112 h 392"/>
                <a:gd name="T62" fmla="*/ 441 w 445"/>
                <a:gd name="T63" fmla="*/ 120 h 392"/>
                <a:gd name="T64" fmla="*/ 445 w 445"/>
                <a:gd name="T65" fmla="*/ 138 h 392"/>
                <a:gd name="T66" fmla="*/ 443 w 445"/>
                <a:gd name="T67" fmla="*/ 155 h 392"/>
                <a:gd name="T68" fmla="*/ 431 w 445"/>
                <a:gd name="T69" fmla="*/ 19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392">
                  <a:moveTo>
                    <a:pt x="431" y="190"/>
                  </a:moveTo>
                  <a:lnTo>
                    <a:pt x="431" y="190"/>
                  </a:lnTo>
                  <a:lnTo>
                    <a:pt x="414" y="223"/>
                  </a:lnTo>
                  <a:lnTo>
                    <a:pt x="389" y="259"/>
                  </a:lnTo>
                  <a:lnTo>
                    <a:pt x="375" y="278"/>
                  </a:lnTo>
                  <a:lnTo>
                    <a:pt x="360" y="296"/>
                  </a:lnTo>
                  <a:lnTo>
                    <a:pt x="342" y="313"/>
                  </a:lnTo>
                  <a:lnTo>
                    <a:pt x="325" y="331"/>
                  </a:lnTo>
                  <a:lnTo>
                    <a:pt x="306" y="346"/>
                  </a:lnTo>
                  <a:lnTo>
                    <a:pt x="287" y="360"/>
                  </a:lnTo>
                  <a:lnTo>
                    <a:pt x="268" y="372"/>
                  </a:lnTo>
                  <a:lnTo>
                    <a:pt x="249" y="381"/>
                  </a:lnTo>
                  <a:lnTo>
                    <a:pt x="228" y="388"/>
                  </a:lnTo>
                  <a:lnTo>
                    <a:pt x="209" y="392"/>
                  </a:lnTo>
                  <a:lnTo>
                    <a:pt x="188" y="392"/>
                  </a:lnTo>
                  <a:lnTo>
                    <a:pt x="169" y="386"/>
                  </a:lnTo>
                  <a:lnTo>
                    <a:pt x="169" y="386"/>
                  </a:lnTo>
                  <a:lnTo>
                    <a:pt x="151" y="381"/>
                  </a:lnTo>
                  <a:lnTo>
                    <a:pt x="137" y="372"/>
                  </a:lnTo>
                  <a:lnTo>
                    <a:pt x="123" y="360"/>
                  </a:lnTo>
                  <a:lnTo>
                    <a:pt x="111" y="348"/>
                  </a:lnTo>
                  <a:lnTo>
                    <a:pt x="99" y="334"/>
                  </a:lnTo>
                  <a:lnTo>
                    <a:pt x="89" y="320"/>
                  </a:lnTo>
                  <a:lnTo>
                    <a:pt x="80" y="303"/>
                  </a:lnTo>
                  <a:lnTo>
                    <a:pt x="71" y="287"/>
                  </a:lnTo>
                  <a:lnTo>
                    <a:pt x="57" y="251"/>
                  </a:lnTo>
                  <a:lnTo>
                    <a:pt x="43" y="216"/>
                  </a:lnTo>
                  <a:lnTo>
                    <a:pt x="31" y="181"/>
                  </a:lnTo>
                  <a:lnTo>
                    <a:pt x="17" y="152"/>
                  </a:lnTo>
                  <a:lnTo>
                    <a:pt x="17" y="152"/>
                  </a:lnTo>
                  <a:lnTo>
                    <a:pt x="10" y="134"/>
                  </a:lnTo>
                  <a:lnTo>
                    <a:pt x="3" y="117"/>
                  </a:lnTo>
                  <a:lnTo>
                    <a:pt x="0" y="98"/>
                  </a:lnTo>
                  <a:lnTo>
                    <a:pt x="0" y="89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5" y="66"/>
                  </a:lnTo>
                  <a:lnTo>
                    <a:pt x="10" y="54"/>
                  </a:lnTo>
                  <a:lnTo>
                    <a:pt x="19" y="44"/>
                  </a:lnTo>
                  <a:lnTo>
                    <a:pt x="29" y="35"/>
                  </a:lnTo>
                  <a:lnTo>
                    <a:pt x="40" y="26"/>
                  </a:lnTo>
                  <a:lnTo>
                    <a:pt x="54" y="19"/>
                  </a:lnTo>
                  <a:lnTo>
                    <a:pt x="66" y="14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99" y="5"/>
                  </a:lnTo>
                  <a:lnTo>
                    <a:pt x="118" y="2"/>
                  </a:lnTo>
                  <a:lnTo>
                    <a:pt x="137" y="0"/>
                  </a:lnTo>
                  <a:lnTo>
                    <a:pt x="156" y="0"/>
                  </a:lnTo>
                  <a:lnTo>
                    <a:pt x="176" y="2"/>
                  </a:lnTo>
                  <a:lnTo>
                    <a:pt x="195" y="5"/>
                  </a:lnTo>
                  <a:lnTo>
                    <a:pt x="233" y="12"/>
                  </a:lnTo>
                  <a:lnTo>
                    <a:pt x="271" y="23"/>
                  </a:lnTo>
                  <a:lnTo>
                    <a:pt x="308" y="37"/>
                  </a:lnTo>
                  <a:lnTo>
                    <a:pt x="346" y="52"/>
                  </a:lnTo>
                  <a:lnTo>
                    <a:pt x="381" y="70"/>
                  </a:lnTo>
                  <a:lnTo>
                    <a:pt x="381" y="70"/>
                  </a:lnTo>
                  <a:lnTo>
                    <a:pt x="400" y="78"/>
                  </a:lnTo>
                  <a:lnTo>
                    <a:pt x="417" y="89"/>
                  </a:lnTo>
                  <a:lnTo>
                    <a:pt x="426" y="96"/>
                  </a:lnTo>
                  <a:lnTo>
                    <a:pt x="433" y="103"/>
                  </a:lnTo>
                  <a:lnTo>
                    <a:pt x="438" y="112"/>
                  </a:lnTo>
                  <a:lnTo>
                    <a:pt x="441" y="120"/>
                  </a:lnTo>
                  <a:lnTo>
                    <a:pt x="441" y="120"/>
                  </a:lnTo>
                  <a:lnTo>
                    <a:pt x="445" y="129"/>
                  </a:lnTo>
                  <a:lnTo>
                    <a:pt x="445" y="138"/>
                  </a:lnTo>
                  <a:lnTo>
                    <a:pt x="445" y="146"/>
                  </a:lnTo>
                  <a:lnTo>
                    <a:pt x="443" y="155"/>
                  </a:lnTo>
                  <a:lnTo>
                    <a:pt x="438" y="172"/>
                  </a:lnTo>
                  <a:lnTo>
                    <a:pt x="431" y="190"/>
                  </a:lnTo>
                  <a:lnTo>
                    <a:pt x="431" y="19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0">
              <a:extLst>
                <a:ext uri="{FF2B5EF4-FFF2-40B4-BE49-F238E27FC236}">
                  <a16:creationId xmlns:a16="http://schemas.microsoft.com/office/drawing/2014/main" id="{4761E8CF-2E22-407F-BAB6-4D4B89973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1488" y="-1223449"/>
              <a:ext cx="201612" cy="250825"/>
            </a:xfrm>
            <a:custGeom>
              <a:avLst/>
              <a:gdLst>
                <a:gd name="T0" fmla="*/ 242 w 256"/>
                <a:gd name="T1" fmla="*/ 150 h 317"/>
                <a:gd name="T2" fmla="*/ 212 w 256"/>
                <a:gd name="T3" fmla="*/ 218 h 317"/>
                <a:gd name="T4" fmla="*/ 178 w 256"/>
                <a:gd name="T5" fmla="*/ 284 h 317"/>
                <a:gd name="T6" fmla="*/ 172 w 256"/>
                <a:gd name="T7" fmla="*/ 292 h 317"/>
                <a:gd name="T8" fmla="*/ 159 w 256"/>
                <a:gd name="T9" fmla="*/ 308 h 317"/>
                <a:gd name="T10" fmla="*/ 152 w 256"/>
                <a:gd name="T11" fmla="*/ 313 h 317"/>
                <a:gd name="T12" fmla="*/ 138 w 256"/>
                <a:gd name="T13" fmla="*/ 317 h 317"/>
                <a:gd name="T14" fmla="*/ 136 w 256"/>
                <a:gd name="T15" fmla="*/ 317 h 317"/>
                <a:gd name="T16" fmla="*/ 127 w 256"/>
                <a:gd name="T17" fmla="*/ 313 h 317"/>
                <a:gd name="T18" fmla="*/ 113 w 256"/>
                <a:gd name="T19" fmla="*/ 301 h 317"/>
                <a:gd name="T20" fmla="*/ 108 w 256"/>
                <a:gd name="T21" fmla="*/ 294 h 317"/>
                <a:gd name="T22" fmla="*/ 106 w 256"/>
                <a:gd name="T23" fmla="*/ 292 h 317"/>
                <a:gd name="T24" fmla="*/ 103 w 256"/>
                <a:gd name="T25" fmla="*/ 289 h 317"/>
                <a:gd name="T26" fmla="*/ 94 w 256"/>
                <a:gd name="T27" fmla="*/ 277 h 317"/>
                <a:gd name="T28" fmla="*/ 52 w 256"/>
                <a:gd name="T29" fmla="*/ 211 h 317"/>
                <a:gd name="T30" fmla="*/ 39 w 256"/>
                <a:gd name="T31" fmla="*/ 181 h 317"/>
                <a:gd name="T32" fmla="*/ 14 w 256"/>
                <a:gd name="T33" fmla="*/ 119 h 317"/>
                <a:gd name="T34" fmla="*/ 6 w 256"/>
                <a:gd name="T35" fmla="*/ 87 h 317"/>
                <a:gd name="T36" fmla="*/ 4 w 256"/>
                <a:gd name="T37" fmla="*/ 85 h 317"/>
                <a:gd name="T38" fmla="*/ 0 w 256"/>
                <a:gd name="T39" fmla="*/ 56 h 317"/>
                <a:gd name="T40" fmla="*/ 2 w 256"/>
                <a:gd name="T41" fmla="*/ 35 h 317"/>
                <a:gd name="T42" fmla="*/ 9 w 256"/>
                <a:gd name="T43" fmla="*/ 18 h 317"/>
                <a:gd name="T44" fmla="*/ 6 w 256"/>
                <a:gd name="T45" fmla="*/ 2 h 317"/>
                <a:gd name="T46" fmla="*/ 32 w 256"/>
                <a:gd name="T47" fmla="*/ 0 h 317"/>
                <a:gd name="T48" fmla="*/ 82 w 256"/>
                <a:gd name="T49" fmla="*/ 4 h 317"/>
                <a:gd name="T50" fmla="*/ 134 w 256"/>
                <a:gd name="T51" fmla="*/ 14 h 317"/>
                <a:gd name="T52" fmla="*/ 183 w 256"/>
                <a:gd name="T53" fmla="*/ 30 h 317"/>
                <a:gd name="T54" fmla="*/ 207 w 256"/>
                <a:gd name="T55" fmla="*/ 40 h 317"/>
                <a:gd name="T56" fmla="*/ 232 w 256"/>
                <a:gd name="T57" fmla="*/ 56 h 317"/>
                <a:gd name="T58" fmla="*/ 249 w 256"/>
                <a:gd name="T59" fmla="*/ 77 h 317"/>
                <a:gd name="T60" fmla="*/ 251 w 256"/>
                <a:gd name="T61" fmla="*/ 77 h 317"/>
                <a:gd name="T62" fmla="*/ 254 w 256"/>
                <a:gd name="T63" fmla="*/ 85 h 317"/>
                <a:gd name="T64" fmla="*/ 256 w 256"/>
                <a:gd name="T65" fmla="*/ 105 h 317"/>
                <a:gd name="T66" fmla="*/ 249 w 256"/>
                <a:gd name="T67" fmla="*/ 132 h 317"/>
                <a:gd name="T68" fmla="*/ 242 w 256"/>
                <a:gd name="T69" fmla="*/ 15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6" h="317">
                  <a:moveTo>
                    <a:pt x="242" y="150"/>
                  </a:moveTo>
                  <a:lnTo>
                    <a:pt x="242" y="150"/>
                  </a:lnTo>
                  <a:lnTo>
                    <a:pt x="228" y="185"/>
                  </a:lnTo>
                  <a:lnTo>
                    <a:pt x="212" y="218"/>
                  </a:lnTo>
                  <a:lnTo>
                    <a:pt x="195" y="252"/>
                  </a:lnTo>
                  <a:lnTo>
                    <a:pt x="178" y="284"/>
                  </a:lnTo>
                  <a:lnTo>
                    <a:pt x="178" y="284"/>
                  </a:lnTo>
                  <a:lnTo>
                    <a:pt x="172" y="292"/>
                  </a:lnTo>
                  <a:lnTo>
                    <a:pt x="167" y="301"/>
                  </a:lnTo>
                  <a:lnTo>
                    <a:pt x="159" y="308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45" y="317"/>
                  </a:lnTo>
                  <a:lnTo>
                    <a:pt x="138" y="317"/>
                  </a:lnTo>
                  <a:lnTo>
                    <a:pt x="138" y="317"/>
                  </a:lnTo>
                  <a:lnTo>
                    <a:pt x="136" y="317"/>
                  </a:lnTo>
                  <a:lnTo>
                    <a:pt x="136" y="317"/>
                  </a:lnTo>
                  <a:lnTo>
                    <a:pt x="127" y="313"/>
                  </a:lnTo>
                  <a:lnTo>
                    <a:pt x="120" y="308"/>
                  </a:lnTo>
                  <a:lnTo>
                    <a:pt x="113" y="301"/>
                  </a:lnTo>
                  <a:lnTo>
                    <a:pt x="108" y="294"/>
                  </a:lnTo>
                  <a:lnTo>
                    <a:pt x="108" y="294"/>
                  </a:lnTo>
                  <a:lnTo>
                    <a:pt x="106" y="292"/>
                  </a:lnTo>
                  <a:lnTo>
                    <a:pt x="106" y="292"/>
                  </a:lnTo>
                  <a:lnTo>
                    <a:pt x="103" y="289"/>
                  </a:lnTo>
                  <a:lnTo>
                    <a:pt x="103" y="289"/>
                  </a:lnTo>
                  <a:lnTo>
                    <a:pt x="94" y="277"/>
                  </a:lnTo>
                  <a:lnTo>
                    <a:pt x="94" y="277"/>
                  </a:lnTo>
                  <a:lnTo>
                    <a:pt x="73" y="244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39" y="181"/>
                  </a:lnTo>
                  <a:lnTo>
                    <a:pt x="25" y="150"/>
                  </a:lnTo>
                  <a:lnTo>
                    <a:pt x="14" y="119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45"/>
                  </a:lnTo>
                  <a:lnTo>
                    <a:pt x="2" y="35"/>
                  </a:lnTo>
                  <a:lnTo>
                    <a:pt x="4" y="26"/>
                  </a:lnTo>
                  <a:lnTo>
                    <a:pt x="9" y="18"/>
                  </a:lnTo>
                  <a:lnTo>
                    <a:pt x="16" y="11"/>
                  </a:lnTo>
                  <a:lnTo>
                    <a:pt x="6" y="2"/>
                  </a:lnTo>
                  <a:lnTo>
                    <a:pt x="6" y="2"/>
                  </a:lnTo>
                  <a:lnTo>
                    <a:pt x="32" y="0"/>
                  </a:lnTo>
                  <a:lnTo>
                    <a:pt x="58" y="2"/>
                  </a:lnTo>
                  <a:lnTo>
                    <a:pt x="82" y="4"/>
                  </a:lnTo>
                  <a:lnTo>
                    <a:pt x="108" y="9"/>
                  </a:lnTo>
                  <a:lnTo>
                    <a:pt x="134" y="14"/>
                  </a:lnTo>
                  <a:lnTo>
                    <a:pt x="159" y="21"/>
                  </a:lnTo>
                  <a:lnTo>
                    <a:pt x="183" y="30"/>
                  </a:lnTo>
                  <a:lnTo>
                    <a:pt x="207" y="40"/>
                  </a:lnTo>
                  <a:lnTo>
                    <a:pt x="207" y="40"/>
                  </a:lnTo>
                  <a:lnTo>
                    <a:pt x="219" y="47"/>
                  </a:lnTo>
                  <a:lnTo>
                    <a:pt x="232" y="56"/>
                  </a:lnTo>
                  <a:lnTo>
                    <a:pt x="242" y="65"/>
                  </a:lnTo>
                  <a:lnTo>
                    <a:pt x="249" y="77"/>
                  </a:lnTo>
                  <a:lnTo>
                    <a:pt x="249" y="77"/>
                  </a:lnTo>
                  <a:lnTo>
                    <a:pt x="251" y="77"/>
                  </a:lnTo>
                  <a:lnTo>
                    <a:pt x="251" y="77"/>
                  </a:lnTo>
                  <a:lnTo>
                    <a:pt x="254" y="85"/>
                  </a:lnTo>
                  <a:lnTo>
                    <a:pt x="254" y="94"/>
                  </a:lnTo>
                  <a:lnTo>
                    <a:pt x="256" y="105"/>
                  </a:lnTo>
                  <a:lnTo>
                    <a:pt x="254" y="113"/>
                  </a:lnTo>
                  <a:lnTo>
                    <a:pt x="249" y="132"/>
                  </a:lnTo>
                  <a:lnTo>
                    <a:pt x="242" y="150"/>
                  </a:lnTo>
                  <a:lnTo>
                    <a:pt x="242" y="15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1">
              <a:extLst>
                <a:ext uri="{FF2B5EF4-FFF2-40B4-BE49-F238E27FC236}">
                  <a16:creationId xmlns:a16="http://schemas.microsoft.com/office/drawing/2014/main" id="{54AD21DF-FA2B-4A51-89DD-F9D6BFF6B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1326" y="-1275836"/>
              <a:ext cx="1112837" cy="952500"/>
            </a:xfrm>
            <a:custGeom>
              <a:avLst/>
              <a:gdLst>
                <a:gd name="T0" fmla="*/ 1359 w 1401"/>
                <a:gd name="T1" fmla="*/ 682 h 1200"/>
                <a:gd name="T2" fmla="*/ 1304 w 1401"/>
                <a:gd name="T3" fmla="*/ 779 h 1200"/>
                <a:gd name="T4" fmla="*/ 1201 w 1401"/>
                <a:gd name="T5" fmla="*/ 887 h 1200"/>
                <a:gd name="T6" fmla="*/ 1074 w 1401"/>
                <a:gd name="T7" fmla="*/ 965 h 1200"/>
                <a:gd name="T8" fmla="*/ 932 w 1401"/>
                <a:gd name="T9" fmla="*/ 1007 h 1200"/>
                <a:gd name="T10" fmla="*/ 831 w 1401"/>
                <a:gd name="T11" fmla="*/ 1016 h 1200"/>
                <a:gd name="T12" fmla="*/ 756 w 1401"/>
                <a:gd name="T13" fmla="*/ 1044 h 1200"/>
                <a:gd name="T14" fmla="*/ 735 w 1401"/>
                <a:gd name="T15" fmla="*/ 1068 h 1200"/>
                <a:gd name="T16" fmla="*/ 707 w 1401"/>
                <a:gd name="T17" fmla="*/ 1141 h 1200"/>
                <a:gd name="T18" fmla="*/ 688 w 1401"/>
                <a:gd name="T19" fmla="*/ 1172 h 1200"/>
                <a:gd name="T20" fmla="*/ 652 w 1401"/>
                <a:gd name="T21" fmla="*/ 1195 h 1200"/>
                <a:gd name="T22" fmla="*/ 586 w 1401"/>
                <a:gd name="T23" fmla="*/ 1198 h 1200"/>
                <a:gd name="T24" fmla="*/ 521 w 1401"/>
                <a:gd name="T25" fmla="*/ 1176 h 1200"/>
                <a:gd name="T26" fmla="*/ 488 w 1401"/>
                <a:gd name="T27" fmla="*/ 1145 h 1200"/>
                <a:gd name="T28" fmla="*/ 464 w 1401"/>
                <a:gd name="T29" fmla="*/ 1063 h 1200"/>
                <a:gd name="T30" fmla="*/ 460 w 1401"/>
                <a:gd name="T31" fmla="*/ 1011 h 1200"/>
                <a:gd name="T32" fmla="*/ 400 w 1401"/>
                <a:gd name="T33" fmla="*/ 993 h 1200"/>
                <a:gd name="T34" fmla="*/ 283 w 1401"/>
                <a:gd name="T35" fmla="*/ 938 h 1200"/>
                <a:gd name="T36" fmla="*/ 149 w 1401"/>
                <a:gd name="T37" fmla="*/ 866 h 1200"/>
                <a:gd name="T38" fmla="*/ 68 w 1401"/>
                <a:gd name="T39" fmla="*/ 811 h 1200"/>
                <a:gd name="T40" fmla="*/ 43 w 1401"/>
                <a:gd name="T41" fmla="*/ 776 h 1200"/>
                <a:gd name="T42" fmla="*/ 15 w 1401"/>
                <a:gd name="T43" fmla="*/ 698 h 1200"/>
                <a:gd name="T44" fmla="*/ 0 w 1401"/>
                <a:gd name="T45" fmla="*/ 600 h 1200"/>
                <a:gd name="T46" fmla="*/ 5 w 1401"/>
                <a:gd name="T47" fmla="*/ 536 h 1200"/>
                <a:gd name="T48" fmla="*/ 31 w 1401"/>
                <a:gd name="T49" fmla="*/ 498 h 1200"/>
                <a:gd name="T50" fmla="*/ 82 w 1401"/>
                <a:gd name="T51" fmla="*/ 459 h 1200"/>
                <a:gd name="T52" fmla="*/ 130 w 1401"/>
                <a:gd name="T53" fmla="*/ 386 h 1200"/>
                <a:gd name="T54" fmla="*/ 144 w 1401"/>
                <a:gd name="T55" fmla="*/ 355 h 1200"/>
                <a:gd name="T56" fmla="*/ 161 w 1401"/>
                <a:gd name="T57" fmla="*/ 310 h 1200"/>
                <a:gd name="T58" fmla="*/ 196 w 1401"/>
                <a:gd name="T59" fmla="*/ 245 h 1200"/>
                <a:gd name="T60" fmla="*/ 248 w 1401"/>
                <a:gd name="T61" fmla="*/ 178 h 1200"/>
                <a:gd name="T62" fmla="*/ 314 w 1401"/>
                <a:gd name="T63" fmla="*/ 118 h 1200"/>
                <a:gd name="T64" fmla="*/ 407 w 1401"/>
                <a:gd name="T65" fmla="*/ 65 h 1200"/>
                <a:gd name="T66" fmla="*/ 528 w 1401"/>
                <a:gd name="T67" fmla="*/ 28 h 1200"/>
                <a:gd name="T68" fmla="*/ 751 w 1401"/>
                <a:gd name="T69" fmla="*/ 0 h 1200"/>
                <a:gd name="T70" fmla="*/ 906 w 1401"/>
                <a:gd name="T71" fmla="*/ 16 h 1200"/>
                <a:gd name="T72" fmla="*/ 1057 w 1401"/>
                <a:gd name="T73" fmla="*/ 68 h 1200"/>
                <a:gd name="T74" fmla="*/ 1161 w 1401"/>
                <a:gd name="T75" fmla="*/ 132 h 1200"/>
                <a:gd name="T76" fmla="*/ 1208 w 1401"/>
                <a:gd name="T77" fmla="*/ 151 h 1200"/>
                <a:gd name="T78" fmla="*/ 1253 w 1401"/>
                <a:gd name="T79" fmla="*/ 125 h 1200"/>
                <a:gd name="T80" fmla="*/ 1293 w 1401"/>
                <a:gd name="T81" fmla="*/ 99 h 1200"/>
                <a:gd name="T82" fmla="*/ 1321 w 1401"/>
                <a:gd name="T83" fmla="*/ 99 h 1200"/>
                <a:gd name="T84" fmla="*/ 1328 w 1401"/>
                <a:gd name="T85" fmla="*/ 131 h 1200"/>
                <a:gd name="T86" fmla="*/ 1318 w 1401"/>
                <a:gd name="T87" fmla="*/ 211 h 1200"/>
                <a:gd name="T88" fmla="*/ 1330 w 1401"/>
                <a:gd name="T89" fmla="*/ 275 h 1200"/>
                <a:gd name="T90" fmla="*/ 1380 w 1401"/>
                <a:gd name="T91" fmla="*/ 372 h 1200"/>
                <a:gd name="T92" fmla="*/ 1398 w 1401"/>
                <a:gd name="T93" fmla="*/ 435 h 1200"/>
                <a:gd name="T94" fmla="*/ 1398 w 1401"/>
                <a:gd name="T95" fmla="*/ 548 h 1200"/>
                <a:gd name="T96" fmla="*/ 1378 w 1401"/>
                <a:gd name="T97" fmla="*/ 63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01" h="1200">
                  <a:moveTo>
                    <a:pt x="1378" y="630"/>
                  </a:moveTo>
                  <a:lnTo>
                    <a:pt x="1378" y="630"/>
                  </a:lnTo>
                  <a:lnTo>
                    <a:pt x="1370" y="656"/>
                  </a:lnTo>
                  <a:lnTo>
                    <a:pt x="1359" y="682"/>
                  </a:lnTo>
                  <a:lnTo>
                    <a:pt x="1359" y="682"/>
                  </a:lnTo>
                  <a:lnTo>
                    <a:pt x="1342" y="717"/>
                  </a:lnTo>
                  <a:lnTo>
                    <a:pt x="1325" y="748"/>
                  </a:lnTo>
                  <a:lnTo>
                    <a:pt x="1304" y="779"/>
                  </a:lnTo>
                  <a:lnTo>
                    <a:pt x="1279" y="809"/>
                  </a:lnTo>
                  <a:lnTo>
                    <a:pt x="1255" y="837"/>
                  </a:lnTo>
                  <a:lnTo>
                    <a:pt x="1229" y="863"/>
                  </a:lnTo>
                  <a:lnTo>
                    <a:pt x="1201" y="887"/>
                  </a:lnTo>
                  <a:lnTo>
                    <a:pt x="1172" y="910"/>
                  </a:lnTo>
                  <a:lnTo>
                    <a:pt x="1140" y="931"/>
                  </a:lnTo>
                  <a:lnTo>
                    <a:pt x="1107" y="948"/>
                  </a:lnTo>
                  <a:lnTo>
                    <a:pt x="1074" y="965"/>
                  </a:lnTo>
                  <a:lnTo>
                    <a:pt x="1039" y="979"/>
                  </a:lnTo>
                  <a:lnTo>
                    <a:pt x="1005" y="992"/>
                  </a:lnTo>
                  <a:lnTo>
                    <a:pt x="968" y="1000"/>
                  </a:lnTo>
                  <a:lnTo>
                    <a:pt x="932" y="1007"/>
                  </a:lnTo>
                  <a:lnTo>
                    <a:pt x="895" y="1011"/>
                  </a:lnTo>
                  <a:lnTo>
                    <a:pt x="895" y="1011"/>
                  </a:lnTo>
                  <a:lnTo>
                    <a:pt x="853" y="1014"/>
                  </a:lnTo>
                  <a:lnTo>
                    <a:pt x="831" y="1016"/>
                  </a:lnTo>
                  <a:lnTo>
                    <a:pt x="810" y="1019"/>
                  </a:lnTo>
                  <a:lnTo>
                    <a:pt x="791" y="1025"/>
                  </a:lnTo>
                  <a:lnTo>
                    <a:pt x="773" y="1033"/>
                  </a:lnTo>
                  <a:lnTo>
                    <a:pt x="756" y="1044"/>
                  </a:lnTo>
                  <a:lnTo>
                    <a:pt x="749" y="1051"/>
                  </a:lnTo>
                  <a:lnTo>
                    <a:pt x="742" y="1058"/>
                  </a:lnTo>
                  <a:lnTo>
                    <a:pt x="742" y="1058"/>
                  </a:lnTo>
                  <a:lnTo>
                    <a:pt x="735" y="1068"/>
                  </a:lnTo>
                  <a:lnTo>
                    <a:pt x="728" y="1080"/>
                  </a:lnTo>
                  <a:lnTo>
                    <a:pt x="720" y="1105"/>
                  </a:lnTo>
                  <a:lnTo>
                    <a:pt x="711" y="1129"/>
                  </a:lnTo>
                  <a:lnTo>
                    <a:pt x="707" y="1141"/>
                  </a:lnTo>
                  <a:lnTo>
                    <a:pt x="702" y="1153"/>
                  </a:lnTo>
                  <a:lnTo>
                    <a:pt x="702" y="1153"/>
                  </a:lnTo>
                  <a:lnTo>
                    <a:pt x="695" y="1164"/>
                  </a:lnTo>
                  <a:lnTo>
                    <a:pt x="688" y="1172"/>
                  </a:lnTo>
                  <a:lnTo>
                    <a:pt x="681" y="1179"/>
                  </a:lnTo>
                  <a:lnTo>
                    <a:pt x="671" y="1185"/>
                  </a:lnTo>
                  <a:lnTo>
                    <a:pt x="662" y="1190"/>
                  </a:lnTo>
                  <a:lnTo>
                    <a:pt x="652" y="1195"/>
                  </a:lnTo>
                  <a:lnTo>
                    <a:pt x="641" y="1197"/>
                  </a:lnTo>
                  <a:lnTo>
                    <a:pt x="631" y="1200"/>
                  </a:lnTo>
                  <a:lnTo>
                    <a:pt x="608" y="1200"/>
                  </a:lnTo>
                  <a:lnTo>
                    <a:pt x="586" y="1198"/>
                  </a:lnTo>
                  <a:lnTo>
                    <a:pt x="563" y="1193"/>
                  </a:lnTo>
                  <a:lnTo>
                    <a:pt x="542" y="1186"/>
                  </a:lnTo>
                  <a:lnTo>
                    <a:pt x="542" y="1186"/>
                  </a:lnTo>
                  <a:lnTo>
                    <a:pt x="521" y="1176"/>
                  </a:lnTo>
                  <a:lnTo>
                    <a:pt x="513" y="1169"/>
                  </a:lnTo>
                  <a:lnTo>
                    <a:pt x="504" y="1162"/>
                  </a:lnTo>
                  <a:lnTo>
                    <a:pt x="495" y="1153"/>
                  </a:lnTo>
                  <a:lnTo>
                    <a:pt x="488" y="1145"/>
                  </a:lnTo>
                  <a:lnTo>
                    <a:pt x="476" y="1124"/>
                  </a:lnTo>
                  <a:lnTo>
                    <a:pt x="476" y="1124"/>
                  </a:lnTo>
                  <a:lnTo>
                    <a:pt x="471" y="1101"/>
                  </a:lnTo>
                  <a:lnTo>
                    <a:pt x="464" y="1063"/>
                  </a:lnTo>
                  <a:lnTo>
                    <a:pt x="460" y="1042"/>
                  </a:lnTo>
                  <a:lnTo>
                    <a:pt x="459" y="1025"/>
                  </a:lnTo>
                  <a:lnTo>
                    <a:pt x="460" y="1014"/>
                  </a:lnTo>
                  <a:lnTo>
                    <a:pt x="460" y="1011"/>
                  </a:lnTo>
                  <a:lnTo>
                    <a:pt x="462" y="1009"/>
                  </a:lnTo>
                  <a:lnTo>
                    <a:pt x="462" y="1009"/>
                  </a:lnTo>
                  <a:lnTo>
                    <a:pt x="431" y="1002"/>
                  </a:lnTo>
                  <a:lnTo>
                    <a:pt x="400" y="993"/>
                  </a:lnTo>
                  <a:lnTo>
                    <a:pt x="370" y="981"/>
                  </a:lnTo>
                  <a:lnTo>
                    <a:pt x="341" y="967"/>
                  </a:lnTo>
                  <a:lnTo>
                    <a:pt x="311" y="953"/>
                  </a:lnTo>
                  <a:lnTo>
                    <a:pt x="283" y="938"/>
                  </a:lnTo>
                  <a:lnTo>
                    <a:pt x="226" y="906"/>
                  </a:lnTo>
                  <a:lnTo>
                    <a:pt x="226" y="906"/>
                  </a:lnTo>
                  <a:lnTo>
                    <a:pt x="174" y="880"/>
                  </a:lnTo>
                  <a:lnTo>
                    <a:pt x="149" y="866"/>
                  </a:lnTo>
                  <a:lnTo>
                    <a:pt x="123" y="852"/>
                  </a:lnTo>
                  <a:lnTo>
                    <a:pt x="101" y="837"/>
                  </a:lnTo>
                  <a:lnTo>
                    <a:pt x="78" y="819"/>
                  </a:lnTo>
                  <a:lnTo>
                    <a:pt x="68" y="811"/>
                  </a:lnTo>
                  <a:lnTo>
                    <a:pt x="59" y="800"/>
                  </a:lnTo>
                  <a:lnTo>
                    <a:pt x="50" y="788"/>
                  </a:lnTo>
                  <a:lnTo>
                    <a:pt x="43" y="776"/>
                  </a:lnTo>
                  <a:lnTo>
                    <a:pt x="43" y="776"/>
                  </a:lnTo>
                  <a:lnTo>
                    <a:pt x="35" y="760"/>
                  </a:lnTo>
                  <a:lnTo>
                    <a:pt x="35" y="760"/>
                  </a:lnTo>
                  <a:lnTo>
                    <a:pt x="24" y="731"/>
                  </a:lnTo>
                  <a:lnTo>
                    <a:pt x="15" y="698"/>
                  </a:lnTo>
                  <a:lnTo>
                    <a:pt x="8" y="666"/>
                  </a:lnTo>
                  <a:lnTo>
                    <a:pt x="3" y="633"/>
                  </a:lnTo>
                  <a:lnTo>
                    <a:pt x="3" y="633"/>
                  </a:lnTo>
                  <a:lnTo>
                    <a:pt x="0" y="600"/>
                  </a:lnTo>
                  <a:lnTo>
                    <a:pt x="0" y="583"/>
                  </a:lnTo>
                  <a:lnTo>
                    <a:pt x="0" y="567"/>
                  </a:lnTo>
                  <a:lnTo>
                    <a:pt x="2" y="551"/>
                  </a:lnTo>
                  <a:lnTo>
                    <a:pt x="5" y="536"/>
                  </a:lnTo>
                  <a:lnTo>
                    <a:pt x="12" y="522"/>
                  </a:lnTo>
                  <a:lnTo>
                    <a:pt x="21" y="508"/>
                  </a:lnTo>
                  <a:lnTo>
                    <a:pt x="21" y="508"/>
                  </a:lnTo>
                  <a:lnTo>
                    <a:pt x="31" y="498"/>
                  </a:lnTo>
                  <a:lnTo>
                    <a:pt x="45" y="487"/>
                  </a:lnTo>
                  <a:lnTo>
                    <a:pt x="71" y="468"/>
                  </a:lnTo>
                  <a:lnTo>
                    <a:pt x="71" y="468"/>
                  </a:lnTo>
                  <a:lnTo>
                    <a:pt x="82" y="459"/>
                  </a:lnTo>
                  <a:lnTo>
                    <a:pt x="90" y="451"/>
                  </a:lnTo>
                  <a:lnTo>
                    <a:pt x="108" y="430"/>
                  </a:lnTo>
                  <a:lnTo>
                    <a:pt x="120" y="409"/>
                  </a:lnTo>
                  <a:lnTo>
                    <a:pt x="130" y="386"/>
                  </a:lnTo>
                  <a:lnTo>
                    <a:pt x="130" y="386"/>
                  </a:lnTo>
                  <a:lnTo>
                    <a:pt x="142" y="358"/>
                  </a:lnTo>
                  <a:lnTo>
                    <a:pt x="142" y="358"/>
                  </a:lnTo>
                  <a:lnTo>
                    <a:pt x="144" y="355"/>
                  </a:lnTo>
                  <a:lnTo>
                    <a:pt x="144" y="355"/>
                  </a:lnTo>
                  <a:lnTo>
                    <a:pt x="144" y="353"/>
                  </a:lnTo>
                  <a:lnTo>
                    <a:pt x="144" y="353"/>
                  </a:lnTo>
                  <a:lnTo>
                    <a:pt x="161" y="310"/>
                  </a:lnTo>
                  <a:lnTo>
                    <a:pt x="170" y="289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96" y="245"/>
                  </a:lnTo>
                  <a:lnTo>
                    <a:pt x="212" y="223"/>
                  </a:lnTo>
                  <a:lnTo>
                    <a:pt x="229" y="200"/>
                  </a:lnTo>
                  <a:lnTo>
                    <a:pt x="248" y="178"/>
                  </a:lnTo>
                  <a:lnTo>
                    <a:pt x="248" y="178"/>
                  </a:lnTo>
                  <a:lnTo>
                    <a:pt x="268" y="160"/>
                  </a:lnTo>
                  <a:lnTo>
                    <a:pt x="285" y="143"/>
                  </a:lnTo>
                  <a:lnTo>
                    <a:pt x="285" y="143"/>
                  </a:lnTo>
                  <a:lnTo>
                    <a:pt x="314" y="118"/>
                  </a:lnTo>
                  <a:lnTo>
                    <a:pt x="344" y="98"/>
                  </a:lnTo>
                  <a:lnTo>
                    <a:pt x="374" y="80"/>
                  </a:lnTo>
                  <a:lnTo>
                    <a:pt x="407" y="65"/>
                  </a:lnTo>
                  <a:lnTo>
                    <a:pt x="407" y="65"/>
                  </a:lnTo>
                  <a:lnTo>
                    <a:pt x="421" y="59"/>
                  </a:lnTo>
                  <a:lnTo>
                    <a:pt x="421" y="59"/>
                  </a:lnTo>
                  <a:lnTo>
                    <a:pt x="474" y="42"/>
                  </a:lnTo>
                  <a:lnTo>
                    <a:pt x="528" y="28"/>
                  </a:lnTo>
                  <a:lnTo>
                    <a:pt x="584" y="16"/>
                  </a:lnTo>
                  <a:lnTo>
                    <a:pt x="640" y="7"/>
                  </a:lnTo>
                  <a:lnTo>
                    <a:pt x="695" y="2"/>
                  </a:lnTo>
                  <a:lnTo>
                    <a:pt x="751" y="0"/>
                  </a:lnTo>
                  <a:lnTo>
                    <a:pt x="806" y="4"/>
                  </a:lnTo>
                  <a:lnTo>
                    <a:pt x="862" y="9"/>
                  </a:lnTo>
                  <a:lnTo>
                    <a:pt x="862" y="9"/>
                  </a:lnTo>
                  <a:lnTo>
                    <a:pt x="906" y="16"/>
                  </a:lnTo>
                  <a:lnTo>
                    <a:pt x="946" y="26"/>
                  </a:lnTo>
                  <a:lnTo>
                    <a:pt x="984" y="38"/>
                  </a:lnTo>
                  <a:lnTo>
                    <a:pt x="1020" y="52"/>
                  </a:lnTo>
                  <a:lnTo>
                    <a:pt x="1057" y="68"/>
                  </a:lnTo>
                  <a:lnTo>
                    <a:pt x="1092" y="87"/>
                  </a:lnTo>
                  <a:lnTo>
                    <a:pt x="1126" y="110"/>
                  </a:lnTo>
                  <a:lnTo>
                    <a:pt x="1161" y="132"/>
                  </a:lnTo>
                  <a:lnTo>
                    <a:pt x="1161" y="132"/>
                  </a:lnTo>
                  <a:lnTo>
                    <a:pt x="1175" y="141"/>
                  </a:lnTo>
                  <a:lnTo>
                    <a:pt x="1187" y="148"/>
                  </a:lnTo>
                  <a:lnTo>
                    <a:pt x="1198" y="151"/>
                  </a:lnTo>
                  <a:lnTo>
                    <a:pt x="1208" y="151"/>
                  </a:lnTo>
                  <a:lnTo>
                    <a:pt x="1218" y="150"/>
                  </a:lnTo>
                  <a:lnTo>
                    <a:pt x="1229" y="145"/>
                  </a:lnTo>
                  <a:lnTo>
                    <a:pt x="1239" y="136"/>
                  </a:lnTo>
                  <a:lnTo>
                    <a:pt x="1253" y="125"/>
                  </a:lnTo>
                  <a:lnTo>
                    <a:pt x="1253" y="125"/>
                  </a:lnTo>
                  <a:lnTo>
                    <a:pt x="1265" y="115"/>
                  </a:lnTo>
                  <a:lnTo>
                    <a:pt x="1279" y="106"/>
                  </a:lnTo>
                  <a:lnTo>
                    <a:pt x="1293" y="99"/>
                  </a:lnTo>
                  <a:lnTo>
                    <a:pt x="1305" y="96"/>
                  </a:lnTo>
                  <a:lnTo>
                    <a:pt x="1312" y="96"/>
                  </a:lnTo>
                  <a:lnTo>
                    <a:pt x="1316" y="98"/>
                  </a:lnTo>
                  <a:lnTo>
                    <a:pt x="1321" y="99"/>
                  </a:lnTo>
                  <a:lnTo>
                    <a:pt x="1325" y="105"/>
                  </a:lnTo>
                  <a:lnTo>
                    <a:pt x="1326" y="111"/>
                  </a:lnTo>
                  <a:lnTo>
                    <a:pt x="1328" y="120"/>
                  </a:lnTo>
                  <a:lnTo>
                    <a:pt x="1328" y="131"/>
                  </a:lnTo>
                  <a:lnTo>
                    <a:pt x="1326" y="143"/>
                  </a:lnTo>
                  <a:lnTo>
                    <a:pt x="1326" y="143"/>
                  </a:lnTo>
                  <a:lnTo>
                    <a:pt x="1321" y="179"/>
                  </a:lnTo>
                  <a:lnTo>
                    <a:pt x="1318" y="211"/>
                  </a:lnTo>
                  <a:lnTo>
                    <a:pt x="1318" y="226"/>
                  </a:lnTo>
                  <a:lnTo>
                    <a:pt x="1319" y="244"/>
                  </a:lnTo>
                  <a:lnTo>
                    <a:pt x="1323" y="259"/>
                  </a:lnTo>
                  <a:lnTo>
                    <a:pt x="1330" y="275"/>
                  </a:lnTo>
                  <a:lnTo>
                    <a:pt x="1330" y="275"/>
                  </a:lnTo>
                  <a:lnTo>
                    <a:pt x="1345" y="308"/>
                  </a:lnTo>
                  <a:lnTo>
                    <a:pt x="1364" y="339"/>
                  </a:lnTo>
                  <a:lnTo>
                    <a:pt x="1380" y="372"/>
                  </a:lnTo>
                  <a:lnTo>
                    <a:pt x="1387" y="390"/>
                  </a:lnTo>
                  <a:lnTo>
                    <a:pt x="1392" y="409"/>
                  </a:lnTo>
                  <a:lnTo>
                    <a:pt x="1392" y="409"/>
                  </a:lnTo>
                  <a:lnTo>
                    <a:pt x="1398" y="435"/>
                  </a:lnTo>
                  <a:lnTo>
                    <a:pt x="1401" y="463"/>
                  </a:lnTo>
                  <a:lnTo>
                    <a:pt x="1401" y="492"/>
                  </a:lnTo>
                  <a:lnTo>
                    <a:pt x="1401" y="520"/>
                  </a:lnTo>
                  <a:lnTo>
                    <a:pt x="1398" y="548"/>
                  </a:lnTo>
                  <a:lnTo>
                    <a:pt x="1392" y="576"/>
                  </a:lnTo>
                  <a:lnTo>
                    <a:pt x="1387" y="604"/>
                  </a:lnTo>
                  <a:lnTo>
                    <a:pt x="1378" y="630"/>
                  </a:lnTo>
                  <a:lnTo>
                    <a:pt x="1378" y="63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3">
              <a:extLst>
                <a:ext uri="{FF2B5EF4-FFF2-40B4-BE49-F238E27FC236}">
                  <a16:creationId xmlns:a16="http://schemas.microsoft.com/office/drawing/2014/main" id="{5DF589DD-D266-4569-A609-FDCBF228D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4826" y="-648774"/>
              <a:ext cx="406400" cy="320675"/>
            </a:xfrm>
            <a:custGeom>
              <a:avLst/>
              <a:gdLst>
                <a:gd name="T0" fmla="*/ 474 w 511"/>
                <a:gd name="T1" fmla="*/ 140 h 404"/>
                <a:gd name="T2" fmla="*/ 474 w 511"/>
                <a:gd name="T3" fmla="*/ 140 h 404"/>
                <a:gd name="T4" fmla="*/ 474 w 511"/>
                <a:gd name="T5" fmla="*/ 207 h 404"/>
                <a:gd name="T6" fmla="*/ 476 w 511"/>
                <a:gd name="T7" fmla="*/ 241 h 404"/>
                <a:gd name="T8" fmla="*/ 480 w 511"/>
                <a:gd name="T9" fmla="*/ 275 h 404"/>
                <a:gd name="T10" fmla="*/ 483 w 511"/>
                <a:gd name="T11" fmla="*/ 308 h 404"/>
                <a:gd name="T12" fmla="*/ 490 w 511"/>
                <a:gd name="T13" fmla="*/ 340 h 404"/>
                <a:gd name="T14" fmla="*/ 499 w 511"/>
                <a:gd name="T15" fmla="*/ 373 h 404"/>
                <a:gd name="T16" fmla="*/ 511 w 511"/>
                <a:gd name="T17" fmla="*/ 404 h 404"/>
                <a:gd name="T18" fmla="*/ 511 w 511"/>
                <a:gd name="T19" fmla="*/ 404 h 404"/>
                <a:gd name="T20" fmla="*/ 492 w 511"/>
                <a:gd name="T21" fmla="*/ 402 h 404"/>
                <a:gd name="T22" fmla="*/ 474 w 511"/>
                <a:gd name="T23" fmla="*/ 399 h 404"/>
                <a:gd name="T24" fmla="*/ 459 w 511"/>
                <a:gd name="T25" fmla="*/ 394 h 404"/>
                <a:gd name="T26" fmla="*/ 443 w 511"/>
                <a:gd name="T27" fmla="*/ 387 h 404"/>
                <a:gd name="T28" fmla="*/ 429 w 511"/>
                <a:gd name="T29" fmla="*/ 376 h 404"/>
                <a:gd name="T30" fmla="*/ 417 w 511"/>
                <a:gd name="T31" fmla="*/ 364 h 404"/>
                <a:gd name="T32" fmla="*/ 407 w 511"/>
                <a:gd name="T33" fmla="*/ 350 h 404"/>
                <a:gd name="T34" fmla="*/ 396 w 511"/>
                <a:gd name="T35" fmla="*/ 333 h 404"/>
                <a:gd name="T36" fmla="*/ 396 w 511"/>
                <a:gd name="T37" fmla="*/ 333 h 404"/>
                <a:gd name="T38" fmla="*/ 391 w 511"/>
                <a:gd name="T39" fmla="*/ 310 h 404"/>
                <a:gd name="T40" fmla="*/ 384 w 511"/>
                <a:gd name="T41" fmla="*/ 272 h 404"/>
                <a:gd name="T42" fmla="*/ 380 w 511"/>
                <a:gd name="T43" fmla="*/ 251 h 404"/>
                <a:gd name="T44" fmla="*/ 379 w 511"/>
                <a:gd name="T45" fmla="*/ 234 h 404"/>
                <a:gd name="T46" fmla="*/ 380 w 511"/>
                <a:gd name="T47" fmla="*/ 223 h 404"/>
                <a:gd name="T48" fmla="*/ 380 w 511"/>
                <a:gd name="T49" fmla="*/ 220 h 404"/>
                <a:gd name="T50" fmla="*/ 382 w 511"/>
                <a:gd name="T51" fmla="*/ 218 h 404"/>
                <a:gd name="T52" fmla="*/ 382 w 511"/>
                <a:gd name="T53" fmla="*/ 218 h 404"/>
                <a:gd name="T54" fmla="*/ 351 w 511"/>
                <a:gd name="T55" fmla="*/ 211 h 404"/>
                <a:gd name="T56" fmla="*/ 320 w 511"/>
                <a:gd name="T57" fmla="*/ 202 h 404"/>
                <a:gd name="T58" fmla="*/ 290 w 511"/>
                <a:gd name="T59" fmla="*/ 190 h 404"/>
                <a:gd name="T60" fmla="*/ 261 w 511"/>
                <a:gd name="T61" fmla="*/ 176 h 404"/>
                <a:gd name="T62" fmla="*/ 231 w 511"/>
                <a:gd name="T63" fmla="*/ 162 h 404"/>
                <a:gd name="T64" fmla="*/ 203 w 511"/>
                <a:gd name="T65" fmla="*/ 147 h 404"/>
                <a:gd name="T66" fmla="*/ 146 w 511"/>
                <a:gd name="T67" fmla="*/ 115 h 404"/>
                <a:gd name="T68" fmla="*/ 146 w 511"/>
                <a:gd name="T69" fmla="*/ 115 h 404"/>
                <a:gd name="T70" fmla="*/ 101 w 511"/>
                <a:gd name="T71" fmla="*/ 91 h 404"/>
                <a:gd name="T72" fmla="*/ 81 w 511"/>
                <a:gd name="T73" fmla="*/ 80 h 404"/>
                <a:gd name="T74" fmla="*/ 62 w 511"/>
                <a:gd name="T75" fmla="*/ 68 h 404"/>
                <a:gd name="T76" fmla="*/ 47 w 511"/>
                <a:gd name="T77" fmla="*/ 56 h 404"/>
                <a:gd name="T78" fmla="*/ 29 w 511"/>
                <a:gd name="T79" fmla="*/ 40 h 404"/>
                <a:gd name="T80" fmla="*/ 15 w 511"/>
                <a:gd name="T81" fmla="*/ 23 h 404"/>
                <a:gd name="T82" fmla="*/ 0 w 511"/>
                <a:gd name="T83" fmla="*/ 0 h 404"/>
                <a:gd name="T84" fmla="*/ 0 w 511"/>
                <a:gd name="T85" fmla="*/ 0 h 404"/>
                <a:gd name="T86" fmla="*/ 5 w 511"/>
                <a:gd name="T87" fmla="*/ 6 h 404"/>
                <a:gd name="T88" fmla="*/ 10 w 511"/>
                <a:gd name="T89" fmla="*/ 11 h 404"/>
                <a:gd name="T90" fmla="*/ 24 w 511"/>
                <a:gd name="T91" fmla="*/ 21 h 404"/>
                <a:gd name="T92" fmla="*/ 43 w 511"/>
                <a:gd name="T93" fmla="*/ 30 h 404"/>
                <a:gd name="T94" fmla="*/ 64 w 511"/>
                <a:gd name="T95" fmla="*/ 39 h 404"/>
                <a:gd name="T96" fmla="*/ 108 w 511"/>
                <a:gd name="T97" fmla="*/ 54 h 404"/>
                <a:gd name="T98" fmla="*/ 139 w 511"/>
                <a:gd name="T99" fmla="*/ 65 h 404"/>
                <a:gd name="T100" fmla="*/ 139 w 511"/>
                <a:gd name="T101" fmla="*/ 65 h 404"/>
                <a:gd name="T102" fmla="*/ 179 w 511"/>
                <a:gd name="T103" fmla="*/ 80 h 404"/>
                <a:gd name="T104" fmla="*/ 221 w 511"/>
                <a:gd name="T105" fmla="*/ 93 h 404"/>
                <a:gd name="T106" fmla="*/ 261 w 511"/>
                <a:gd name="T107" fmla="*/ 105 h 404"/>
                <a:gd name="T108" fmla="*/ 302 w 511"/>
                <a:gd name="T109" fmla="*/ 115 h 404"/>
                <a:gd name="T110" fmla="*/ 302 w 511"/>
                <a:gd name="T111" fmla="*/ 115 h 404"/>
                <a:gd name="T112" fmla="*/ 346 w 511"/>
                <a:gd name="T113" fmla="*/ 122 h 404"/>
                <a:gd name="T114" fmla="*/ 387 w 511"/>
                <a:gd name="T115" fmla="*/ 129 h 404"/>
                <a:gd name="T116" fmla="*/ 474 w 511"/>
                <a:gd name="T117" fmla="*/ 140 h 404"/>
                <a:gd name="T118" fmla="*/ 474 w 511"/>
                <a:gd name="T119" fmla="*/ 14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1" h="404">
                  <a:moveTo>
                    <a:pt x="474" y="140"/>
                  </a:moveTo>
                  <a:lnTo>
                    <a:pt x="474" y="140"/>
                  </a:lnTo>
                  <a:lnTo>
                    <a:pt x="474" y="207"/>
                  </a:lnTo>
                  <a:lnTo>
                    <a:pt x="476" y="241"/>
                  </a:lnTo>
                  <a:lnTo>
                    <a:pt x="480" y="275"/>
                  </a:lnTo>
                  <a:lnTo>
                    <a:pt x="483" y="308"/>
                  </a:lnTo>
                  <a:lnTo>
                    <a:pt x="490" y="340"/>
                  </a:lnTo>
                  <a:lnTo>
                    <a:pt x="499" y="373"/>
                  </a:lnTo>
                  <a:lnTo>
                    <a:pt x="511" y="404"/>
                  </a:lnTo>
                  <a:lnTo>
                    <a:pt x="511" y="404"/>
                  </a:lnTo>
                  <a:lnTo>
                    <a:pt x="492" y="402"/>
                  </a:lnTo>
                  <a:lnTo>
                    <a:pt x="474" y="399"/>
                  </a:lnTo>
                  <a:lnTo>
                    <a:pt x="459" y="394"/>
                  </a:lnTo>
                  <a:lnTo>
                    <a:pt x="443" y="387"/>
                  </a:lnTo>
                  <a:lnTo>
                    <a:pt x="429" y="376"/>
                  </a:lnTo>
                  <a:lnTo>
                    <a:pt x="417" y="364"/>
                  </a:lnTo>
                  <a:lnTo>
                    <a:pt x="407" y="350"/>
                  </a:lnTo>
                  <a:lnTo>
                    <a:pt x="396" y="333"/>
                  </a:lnTo>
                  <a:lnTo>
                    <a:pt x="396" y="333"/>
                  </a:lnTo>
                  <a:lnTo>
                    <a:pt x="391" y="310"/>
                  </a:lnTo>
                  <a:lnTo>
                    <a:pt x="384" y="272"/>
                  </a:lnTo>
                  <a:lnTo>
                    <a:pt x="380" y="251"/>
                  </a:lnTo>
                  <a:lnTo>
                    <a:pt x="379" y="234"/>
                  </a:lnTo>
                  <a:lnTo>
                    <a:pt x="380" y="223"/>
                  </a:lnTo>
                  <a:lnTo>
                    <a:pt x="380" y="220"/>
                  </a:lnTo>
                  <a:lnTo>
                    <a:pt x="382" y="218"/>
                  </a:lnTo>
                  <a:lnTo>
                    <a:pt x="382" y="218"/>
                  </a:lnTo>
                  <a:lnTo>
                    <a:pt x="351" y="211"/>
                  </a:lnTo>
                  <a:lnTo>
                    <a:pt x="320" y="202"/>
                  </a:lnTo>
                  <a:lnTo>
                    <a:pt x="290" y="190"/>
                  </a:lnTo>
                  <a:lnTo>
                    <a:pt x="261" y="176"/>
                  </a:lnTo>
                  <a:lnTo>
                    <a:pt x="231" y="162"/>
                  </a:lnTo>
                  <a:lnTo>
                    <a:pt x="203" y="147"/>
                  </a:lnTo>
                  <a:lnTo>
                    <a:pt x="146" y="115"/>
                  </a:lnTo>
                  <a:lnTo>
                    <a:pt x="146" y="115"/>
                  </a:lnTo>
                  <a:lnTo>
                    <a:pt x="101" y="91"/>
                  </a:lnTo>
                  <a:lnTo>
                    <a:pt x="81" y="80"/>
                  </a:lnTo>
                  <a:lnTo>
                    <a:pt x="62" y="68"/>
                  </a:lnTo>
                  <a:lnTo>
                    <a:pt x="47" y="56"/>
                  </a:lnTo>
                  <a:lnTo>
                    <a:pt x="29" y="40"/>
                  </a:lnTo>
                  <a:lnTo>
                    <a:pt x="15" y="2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" y="6"/>
                  </a:lnTo>
                  <a:lnTo>
                    <a:pt x="10" y="11"/>
                  </a:lnTo>
                  <a:lnTo>
                    <a:pt x="24" y="21"/>
                  </a:lnTo>
                  <a:lnTo>
                    <a:pt x="43" y="30"/>
                  </a:lnTo>
                  <a:lnTo>
                    <a:pt x="64" y="39"/>
                  </a:lnTo>
                  <a:lnTo>
                    <a:pt x="108" y="54"/>
                  </a:lnTo>
                  <a:lnTo>
                    <a:pt x="139" y="65"/>
                  </a:lnTo>
                  <a:lnTo>
                    <a:pt x="139" y="65"/>
                  </a:lnTo>
                  <a:lnTo>
                    <a:pt x="179" y="80"/>
                  </a:lnTo>
                  <a:lnTo>
                    <a:pt x="221" y="93"/>
                  </a:lnTo>
                  <a:lnTo>
                    <a:pt x="261" y="105"/>
                  </a:lnTo>
                  <a:lnTo>
                    <a:pt x="302" y="115"/>
                  </a:lnTo>
                  <a:lnTo>
                    <a:pt x="302" y="115"/>
                  </a:lnTo>
                  <a:lnTo>
                    <a:pt x="346" y="122"/>
                  </a:lnTo>
                  <a:lnTo>
                    <a:pt x="387" y="129"/>
                  </a:lnTo>
                  <a:lnTo>
                    <a:pt x="474" y="140"/>
                  </a:lnTo>
                  <a:lnTo>
                    <a:pt x="474" y="14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4">
              <a:extLst>
                <a:ext uri="{FF2B5EF4-FFF2-40B4-BE49-F238E27FC236}">
                  <a16:creationId xmlns:a16="http://schemas.microsoft.com/office/drawing/2014/main" id="{5C928D2B-A295-467B-B9B6-EF5037F0C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6563" y="-886899"/>
              <a:ext cx="158750" cy="277812"/>
            </a:xfrm>
            <a:custGeom>
              <a:avLst/>
              <a:gdLst>
                <a:gd name="T0" fmla="*/ 193 w 200"/>
                <a:gd name="T1" fmla="*/ 278 h 351"/>
                <a:gd name="T2" fmla="*/ 193 w 200"/>
                <a:gd name="T3" fmla="*/ 278 h 351"/>
                <a:gd name="T4" fmla="*/ 189 w 200"/>
                <a:gd name="T5" fmla="*/ 290 h 351"/>
                <a:gd name="T6" fmla="*/ 186 w 200"/>
                <a:gd name="T7" fmla="*/ 302 h 351"/>
                <a:gd name="T8" fmla="*/ 181 w 200"/>
                <a:gd name="T9" fmla="*/ 313 h 351"/>
                <a:gd name="T10" fmla="*/ 174 w 200"/>
                <a:gd name="T11" fmla="*/ 321 h 351"/>
                <a:gd name="T12" fmla="*/ 167 w 200"/>
                <a:gd name="T13" fmla="*/ 330 h 351"/>
                <a:gd name="T14" fmla="*/ 160 w 200"/>
                <a:gd name="T15" fmla="*/ 337 h 351"/>
                <a:gd name="T16" fmla="*/ 151 w 200"/>
                <a:gd name="T17" fmla="*/ 342 h 351"/>
                <a:gd name="T18" fmla="*/ 142 w 200"/>
                <a:gd name="T19" fmla="*/ 346 h 351"/>
                <a:gd name="T20" fmla="*/ 134 w 200"/>
                <a:gd name="T21" fmla="*/ 349 h 351"/>
                <a:gd name="T22" fmla="*/ 125 w 200"/>
                <a:gd name="T23" fmla="*/ 351 h 351"/>
                <a:gd name="T24" fmla="*/ 115 w 200"/>
                <a:gd name="T25" fmla="*/ 349 h 351"/>
                <a:gd name="T26" fmla="*/ 104 w 200"/>
                <a:gd name="T27" fmla="*/ 347 h 351"/>
                <a:gd name="T28" fmla="*/ 95 w 200"/>
                <a:gd name="T29" fmla="*/ 346 h 351"/>
                <a:gd name="T30" fmla="*/ 85 w 200"/>
                <a:gd name="T31" fmla="*/ 340 h 351"/>
                <a:gd name="T32" fmla="*/ 75 w 200"/>
                <a:gd name="T33" fmla="*/ 334 h 351"/>
                <a:gd name="T34" fmla="*/ 64 w 200"/>
                <a:gd name="T35" fmla="*/ 325 h 351"/>
                <a:gd name="T36" fmla="*/ 64 w 200"/>
                <a:gd name="T37" fmla="*/ 325 h 351"/>
                <a:gd name="T38" fmla="*/ 52 w 200"/>
                <a:gd name="T39" fmla="*/ 314 h 351"/>
                <a:gd name="T40" fmla="*/ 43 w 200"/>
                <a:gd name="T41" fmla="*/ 302 h 351"/>
                <a:gd name="T42" fmla="*/ 35 w 200"/>
                <a:gd name="T43" fmla="*/ 288 h 351"/>
                <a:gd name="T44" fmla="*/ 26 w 200"/>
                <a:gd name="T45" fmla="*/ 276 h 351"/>
                <a:gd name="T46" fmla="*/ 21 w 200"/>
                <a:gd name="T47" fmla="*/ 262 h 351"/>
                <a:gd name="T48" fmla="*/ 14 w 200"/>
                <a:gd name="T49" fmla="*/ 247 h 351"/>
                <a:gd name="T50" fmla="*/ 7 w 200"/>
                <a:gd name="T51" fmla="*/ 217 h 351"/>
                <a:gd name="T52" fmla="*/ 2 w 200"/>
                <a:gd name="T53" fmla="*/ 187 h 351"/>
                <a:gd name="T54" fmla="*/ 0 w 200"/>
                <a:gd name="T55" fmla="*/ 156 h 351"/>
                <a:gd name="T56" fmla="*/ 2 w 200"/>
                <a:gd name="T57" fmla="*/ 125 h 351"/>
                <a:gd name="T58" fmla="*/ 5 w 200"/>
                <a:gd name="T59" fmla="*/ 95 h 351"/>
                <a:gd name="T60" fmla="*/ 5 w 200"/>
                <a:gd name="T61" fmla="*/ 95 h 351"/>
                <a:gd name="T62" fmla="*/ 7 w 200"/>
                <a:gd name="T63" fmla="*/ 81 h 351"/>
                <a:gd name="T64" fmla="*/ 10 w 200"/>
                <a:gd name="T65" fmla="*/ 69 h 351"/>
                <a:gd name="T66" fmla="*/ 14 w 200"/>
                <a:gd name="T67" fmla="*/ 57 h 351"/>
                <a:gd name="T68" fmla="*/ 19 w 200"/>
                <a:gd name="T69" fmla="*/ 47 h 351"/>
                <a:gd name="T70" fmla="*/ 26 w 200"/>
                <a:gd name="T71" fmla="*/ 36 h 351"/>
                <a:gd name="T72" fmla="*/ 33 w 200"/>
                <a:gd name="T73" fmla="*/ 26 h 351"/>
                <a:gd name="T74" fmla="*/ 40 w 200"/>
                <a:gd name="T75" fmla="*/ 19 h 351"/>
                <a:gd name="T76" fmla="*/ 49 w 200"/>
                <a:gd name="T77" fmla="*/ 12 h 351"/>
                <a:gd name="T78" fmla="*/ 57 w 200"/>
                <a:gd name="T79" fmla="*/ 7 h 351"/>
                <a:gd name="T80" fmla="*/ 68 w 200"/>
                <a:gd name="T81" fmla="*/ 1 h 351"/>
                <a:gd name="T82" fmla="*/ 78 w 200"/>
                <a:gd name="T83" fmla="*/ 0 h 351"/>
                <a:gd name="T84" fmla="*/ 90 w 200"/>
                <a:gd name="T85" fmla="*/ 0 h 351"/>
                <a:gd name="T86" fmla="*/ 102 w 200"/>
                <a:gd name="T87" fmla="*/ 1 h 351"/>
                <a:gd name="T88" fmla="*/ 115 w 200"/>
                <a:gd name="T89" fmla="*/ 7 h 351"/>
                <a:gd name="T90" fmla="*/ 127 w 200"/>
                <a:gd name="T91" fmla="*/ 14 h 351"/>
                <a:gd name="T92" fmla="*/ 141 w 200"/>
                <a:gd name="T93" fmla="*/ 22 h 351"/>
                <a:gd name="T94" fmla="*/ 141 w 200"/>
                <a:gd name="T95" fmla="*/ 22 h 351"/>
                <a:gd name="T96" fmla="*/ 151 w 200"/>
                <a:gd name="T97" fmla="*/ 33 h 351"/>
                <a:gd name="T98" fmla="*/ 162 w 200"/>
                <a:gd name="T99" fmla="*/ 45 h 351"/>
                <a:gd name="T100" fmla="*/ 170 w 200"/>
                <a:gd name="T101" fmla="*/ 59 h 351"/>
                <a:gd name="T102" fmla="*/ 179 w 200"/>
                <a:gd name="T103" fmla="*/ 74 h 351"/>
                <a:gd name="T104" fmla="*/ 184 w 200"/>
                <a:gd name="T105" fmla="*/ 88 h 351"/>
                <a:gd name="T106" fmla="*/ 189 w 200"/>
                <a:gd name="T107" fmla="*/ 104 h 351"/>
                <a:gd name="T108" fmla="*/ 196 w 200"/>
                <a:gd name="T109" fmla="*/ 137 h 351"/>
                <a:gd name="T110" fmla="*/ 196 w 200"/>
                <a:gd name="T111" fmla="*/ 137 h 351"/>
                <a:gd name="T112" fmla="*/ 200 w 200"/>
                <a:gd name="T113" fmla="*/ 172 h 351"/>
                <a:gd name="T114" fmla="*/ 200 w 200"/>
                <a:gd name="T115" fmla="*/ 208 h 351"/>
                <a:gd name="T116" fmla="*/ 198 w 200"/>
                <a:gd name="T117" fmla="*/ 243 h 351"/>
                <a:gd name="T118" fmla="*/ 193 w 200"/>
                <a:gd name="T119" fmla="*/ 278 h 351"/>
                <a:gd name="T120" fmla="*/ 193 w 200"/>
                <a:gd name="T121" fmla="*/ 278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0" h="351">
                  <a:moveTo>
                    <a:pt x="193" y="278"/>
                  </a:moveTo>
                  <a:lnTo>
                    <a:pt x="193" y="278"/>
                  </a:lnTo>
                  <a:lnTo>
                    <a:pt x="189" y="290"/>
                  </a:lnTo>
                  <a:lnTo>
                    <a:pt x="186" y="302"/>
                  </a:lnTo>
                  <a:lnTo>
                    <a:pt x="181" y="313"/>
                  </a:lnTo>
                  <a:lnTo>
                    <a:pt x="174" y="321"/>
                  </a:lnTo>
                  <a:lnTo>
                    <a:pt x="167" y="330"/>
                  </a:lnTo>
                  <a:lnTo>
                    <a:pt x="160" y="337"/>
                  </a:lnTo>
                  <a:lnTo>
                    <a:pt x="151" y="342"/>
                  </a:lnTo>
                  <a:lnTo>
                    <a:pt x="142" y="346"/>
                  </a:lnTo>
                  <a:lnTo>
                    <a:pt x="134" y="349"/>
                  </a:lnTo>
                  <a:lnTo>
                    <a:pt x="125" y="351"/>
                  </a:lnTo>
                  <a:lnTo>
                    <a:pt x="115" y="349"/>
                  </a:lnTo>
                  <a:lnTo>
                    <a:pt x="104" y="347"/>
                  </a:lnTo>
                  <a:lnTo>
                    <a:pt x="95" y="346"/>
                  </a:lnTo>
                  <a:lnTo>
                    <a:pt x="85" y="340"/>
                  </a:lnTo>
                  <a:lnTo>
                    <a:pt x="75" y="334"/>
                  </a:lnTo>
                  <a:lnTo>
                    <a:pt x="64" y="325"/>
                  </a:lnTo>
                  <a:lnTo>
                    <a:pt x="64" y="325"/>
                  </a:lnTo>
                  <a:lnTo>
                    <a:pt x="52" y="314"/>
                  </a:lnTo>
                  <a:lnTo>
                    <a:pt x="43" y="302"/>
                  </a:lnTo>
                  <a:lnTo>
                    <a:pt x="35" y="288"/>
                  </a:lnTo>
                  <a:lnTo>
                    <a:pt x="26" y="276"/>
                  </a:lnTo>
                  <a:lnTo>
                    <a:pt x="21" y="262"/>
                  </a:lnTo>
                  <a:lnTo>
                    <a:pt x="14" y="247"/>
                  </a:lnTo>
                  <a:lnTo>
                    <a:pt x="7" y="217"/>
                  </a:lnTo>
                  <a:lnTo>
                    <a:pt x="2" y="187"/>
                  </a:lnTo>
                  <a:lnTo>
                    <a:pt x="0" y="156"/>
                  </a:lnTo>
                  <a:lnTo>
                    <a:pt x="2" y="12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7" y="81"/>
                  </a:lnTo>
                  <a:lnTo>
                    <a:pt x="10" y="69"/>
                  </a:lnTo>
                  <a:lnTo>
                    <a:pt x="14" y="57"/>
                  </a:lnTo>
                  <a:lnTo>
                    <a:pt x="19" y="47"/>
                  </a:lnTo>
                  <a:lnTo>
                    <a:pt x="26" y="36"/>
                  </a:lnTo>
                  <a:lnTo>
                    <a:pt x="33" y="26"/>
                  </a:lnTo>
                  <a:lnTo>
                    <a:pt x="40" y="19"/>
                  </a:lnTo>
                  <a:lnTo>
                    <a:pt x="49" y="12"/>
                  </a:lnTo>
                  <a:lnTo>
                    <a:pt x="57" y="7"/>
                  </a:lnTo>
                  <a:lnTo>
                    <a:pt x="68" y="1"/>
                  </a:lnTo>
                  <a:lnTo>
                    <a:pt x="78" y="0"/>
                  </a:lnTo>
                  <a:lnTo>
                    <a:pt x="90" y="0"/>
                  </a:lnTo>
                  <a:lnTo>
                    <a:pt x="102" y="1"/>
                  </a:lnTo>
                  <a:lnTo>
                    <a:pt x="115" y="7"/>
                  </a:lnTo>
                  <a:lnTo>
                    <a:pt x="127" y="14"/>
                  </a:lnTo>
                  <a:lnTo>
                    <a:pt x="141" y="22"/>
                  </a:lnTo>
                  <a:lnTo>
                    <a:pt x="141" y="22"/>
                  </a:lnTo>
                  <a:lnTo>
                    <a:pt x="151" y="33"/>
                  </a:lnTo>
                  <a:lnTo>
                    <a:pt x="162" y="45"/>
                  </a:lnTo>
                  <a:lnTo>
                    <a:pt x="170" y="59"/>
                  </a:lnTo>
                  <a:lnTo>
                    <a:pt x="179" y="74"/>
                  </a:lnTo>
                  <a:lnTo>
                    <a:pt x="184" y="88"/>
                  </a:lnTo>
                  <a:lnTo>
                    <a:pt x="189" y="104"/>
                  </a:lnTo>
                  <a:lnTo>
                    <a:pt x="196" y="137"/>
                  </a:lnTo>
                  <a:lnTo>
                    <a:pt x="196" y="137"/>
                  </a:lnTo>
                  <a:lnTo>
                    <a:pt x="200" y="172"/>
                  </a:lnTo>
                  <a:lnTo>
                    <a:pt x="200" y="208"/>
                  </a:lnTo>
                  <a:lnTo>
                    <a:pt x="198" y="243"/>
                  </a:lnTo>
                  <a:lnTo>
                    <a:pt x="193" y="278"/>
                  </a:lnTo>
                  <a:lnTo>
                    <a:pt x="193" y="27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5">
              <a:extLst>
                <a:ext uri="{FF2B5EF4-FFF2-40B4-BE49-F238E27FC236}">
                  <a16:creationId xmlns:a16="http://schemas.microsoft.com/office/drawing/2014/main" id="{A7F50926-50B6-4867-A435-B7D4E22A3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80101" y="-1171061"/>
              <a:ext cx="268287" cy="311150"/>
            </a:xfrm>
            <a:custGeom>
              <a:avLst/>
              <a:gdLst>
                <a:gd name="T0" fmla="*/ 320 w 339"/>
                <a:gd name="T1" fmla="*/ 308 h 393"/>
                <a:gd name="T2" fmla="*/ 320 w 339"/>
                <a:gd name="T3" fmla="*/ 308 h 393"/>
                <a:gd name="T4" fmla="*/ 306 w 339"/>
                <a:gd name="T5" fmla="*/ 329 h 393"/>
                <a:gd name="T6" fmla="*/ 292 w 339"/>
                <a:gd name="T7" fmla="*/ 346 h 393"/>
                <a:gd name="T8" fmla="*/ 276 w 339"/>
                <a:gd name="T9" fmla="*/ 362 h 393"/>
                <a:gd name="T10" fmla="*/ 259 w 339"/>
                <a:gd name="T11" fmla="*/ 374 h 393"/>
                <a:gd name="T12" fmla="*/ 242 w 339"/>
                <a:gd name="T13" fmla="*/ 383 h 393"/>
                <a:gd name="T14" fmla="*/ 223 w 339"/>
                <a:gd name="T15" fmla="*/ 390 h 393"/>
                <a:gd name="T16" fmla="*/ 205 w 339"/>
                <a:gd name="T17" fmla="*/ 393 h 393"/>
                <a:gd name="T18" fmla="*/ 186 w 339"/>
                <a:gd name="T19" fmla="*/ 393 h 393"/>
                <a:gd name="T20" fmla="*/ 167 w 339"/>
                <a:gd name="T21" fmla="*/ 392 h 393"/>
                <a:gd name="T22" fmla="*/ 150 w 339"/>
                <a:gd name="T23" fmla="*/ 385 h 393"/>
                <a:gd name="T24" fmla="*/ 132 w 339"/>
                <a:gd name="T25" fmla="*/ 378 h 393"/>
                <a:gd name="T26" fmla="*/ 117 w 339"/>
                <a:gd name="T27" fmla="*/ 366 h 393"/>
                <a:gd name="T28" fmla="*/ 103 w 339"/>
                <a:gd name="T29" fmla="*/ 352 h 393"/>
                <a:gd name="T30" fmla="*/ 90 w 339"/>
                <a:gd name="T31" fmla="*/ 334 h 393"/>
                <a:gd name="T32" fmla="*/ 80 w 339"/>
                <a:gd name="T33" fmla="*/ 315 h 393"/>
                <a:gd name="T34" fmla="*/ 73 w 339"/>
                <a:gd name="T35" fmla="*/ 293 h 393"/>
                <a:gd name="T36" fmla="*/ 73 w 339"/>
                <a:gd name="T37" fmla="*/ 293 h 393"/>
                <a:gd name="T38" fmla="*/ 61 w 339"/>
                <a:gd name="T39" fmla="*/ 251 h 393"/>
                <a:gd name="T40" fmla="*/ 45 w 339"/>
                <a:gd name="T41" fmla="*/ 211 h 393"/>
                <a:gd name="T42" fmla="*/ 16 w 339"/>
                <a:gd name="T43" fmla="*/ 129 h 393"/>
                <a:gd name="T44" fmla="*/ 16 w 339"/>
                <a:gd name="T45" fmla="*/ 129 h 393"/>
                <a:gd name="T46" fmla="*/ 5 w 339"/>
                <a:gd name="T47" fmla="*/ 99 h 393"/>
                <a:gd name="T48" fmla="*/ 2 w 339"/>
                <a:gd name="T49" fmla="*/ 86 h 393"/>
                <a:gd name="T50" fmla="*/ 0 w 339"/>
                <a:gd name="T51" fmla="*/ 70 h 393"/>
                <a:gd name="T52" fmla="*/ 0 w 339"/>
                <a:gd name="T53" fmla="*/ 70 h 393"/>
                <a:gd name="T54" fmla="*/ 0 w 339"/>
                <a:gd name="T55" fmla="*/ 54 h 393"/>
                <a:gd name="T56" fmla="*/ 5 w 339"/>
                <a:gd name="T57" fmla="*/ 40 h 393"/>
                <a:gd name="T58" fmla="*/ 10 w 339"/>
                <a:gd name="T59" fmla="*/ 26 h 393"/>
                <a:gd name="T60" fmla="*/ 16 w 339"/>
                <a:gd name="T61" fmla="*/ 19 h 393"/>
                <a:gd name="T62" fmla="*/ 21 w 339"/>
                <a:gd name="T63" fmla="*/ 14 h 393"/>
                <a:gd name="T64" fmla="*/ 21 w 339"/>
                <a:gd name="T65" fmla="*/ 14 h 393"/>
                <a:gd name="T66" fmla="*/ 33 w 339"/>
                <a:gd name="T67" fmla="*/ 7 h 393"/>
                <a:gd name="T68" fmla="*/ 45 w 339"/>
                <a:gd name="T69" fmla="*/ 4 h 393"/>
                <a:gd name="T70" fmla="*/ 59 w 339"/>
                <a:gd name="T71" fmla="*/ 0 h 393"/>
                <a:gd name="T72" fmla="*/ 75 w 339"/>
                <a:gd name="T73" fmla="*/ 0 h 393"/>
                <a:gd name="T74" fmla="*/ 75 w 339"/>
                <a:gd name="T75" fmla="*/ 0 h 393"/>
                <a:gd name="T76" fmla="*/ 104 w 339"/>
                <a:gd name="T77" fmla="*/ 0 h 393"/>
                <a:gd name="T78" fmla="*/ 134 w 339"/>
                <a:gd name="T79" fmla="*/ 4 h 393"/>
                <a:gd name="T80" fmla="*/ 163 w 339"/>
                <a:gd name="T81" fmla="*/ 9 h 393"/>
                <a:gd name="T82" fmla="*/ 191 w 339"/>
                <a:gd name="T83" fmla="*/ 19 h 393"/>
                <a:gd name="T84" fmla="*/ 217 w 339"/>
                <a:gd name="T85" fmla="*/ 32 h 393"/>
                <a:gd name="T86" fmla="*/ 243 w 339"/>
                <a:gd name="T87" fmla="*/ 47 h 393"/>
                <a:gd name="T88" fmla="*/ 266 w 339"/>
                <a:gd name="T89" fmla="*/ 65 h 393"/>
                <a:gd name="T90" fmla="*/ 287 w 339"/>
                <a:gd name="T91" fmla="*/ 86 h 393"/>
                <a:gd name="T92" fmla="*/ 287 w 339"/>
                <a:gd name="T93" fmla="*/ 86 h 393"/>
                <a:gd name="T94" fmla="*/ 297 w 339"/>
                <a:gd name="T95" fmla="*/ 98 h 393"/>
                <a:gd name="T96" fmla="*/ 306 w 339"/>
                <a:gd name="T97" fmla="*/ 110 h 393"/>
                <a:gd name="T98" fmla="*/ 313 w 339"/>
                <a:gd name="T99" fmla="*/ 122 h 393"/>
                <a:gd name="T100" fmla="*/ 320 w 339"/>
                <a:gd name="T101" fmla="*/ 136 h 393"/>
                <a:gd name="T102" fmla="*/ 330 w 339"/>
                <a:gd name="T103" fmla="*/ 164 h 393"/>
                <a:gd name="T104" fmla="*/ 337 w 339"/>
                <a:gd name="T105" fmla="*/ 193 h 393"/>
                <a:gd name="T106" fmla="*/ 339 w 339"/>
                <a:gd name="T107" fmla="*/ 207 h 393"/>
                <a:gd name="T108" fmla="*/ 339 w 339"/>
                <a:gd name="T109" fmla="*/ 223 h 393"/>
                <a:gd name="T110" fmla="*/ 339 w 339"/>
                <a:gd name="T111" fmla="*/ 237 h 393"/>
                <a:gd name="T112" fmla="*/ 337 w 339"/>
                <a:gd name="T113" fmla="*/ 253 h 393"/>
                <a:gd name="T114" fmla="*/ 334 w 339"/>
                <a:gd name="T115" fmla="*/ 266 h 393"/>
                <a:gd name="T116" fmla="*/ 330 w 339"/>
                <a:gd name="T117" fmla="*/ 280 h 393"/>
                <a:gd name="T118" fmla="*/ 325 w 339"/>
                <a:gd name="T119" fmla="*/ 294 h 393"/>
                <a:gd name="T120" fmla="*/ 320 w 339"/>
                <a:gd name="T121" fmla="*/ 308 h 393"/>
                <a:gd name="T122" fmla="*/ 320 w 339"/>
                <a:gd name="T123" fmla="*/ 308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9" h="393">
                  <a:moveTo>
                    <a:pt x="320" y="308"/>
                  </a:moveTo>
                  <a:lnTo>
                    <a:pt x="320" y="308"/>
                  </a:lnTo>
                  <a:lnTo>
                    <a:pt x="306" y="329"/>
                  </a:lnTo>
                  <a:lnTo>
                    <a:pt x="292" y="346"/>
                  </a:lnTo>
                  <a:lnTo>
                    <a:pt x="276" y="362"/>
                  </a:lnTo>
                  <a:lnTo>
                    <a:pt x="259" y="374"/>
                  </a:lnTo>
                  <a:lnTo>
                    <a:pt x="242" y="383"/>
                  </a:lnTo>
                  <a:lnTo>
                    <a:pt x="223" y="390"/>
                  </a:lnTo>
                  <a:lnTo>
                    <a:pt x="205" y="393"/>
                  </a:lnTo>
                  <a:lnTo>
                    <a:pt x="186" y="393"/>
                  </a:lnTo>
                  <a:lnTo>
                    <a:pt x="167" y="392"/>
                  </a:lnTo>
                  <a:lnTo>
                    <a:pt x="150" y="385"/>
                  </a:lnTo>
                  <a:lnTo>
                    <a:pt x="132" y="378"/>
                  </a:lnTo>
                  <a:lnTo>
                    <a:pt x="117" y="366"/>
                  </a:lnTo>
                  <a:lnTo>
                    <a:pt x="103" y="352"/>
                  </a:lnTo>
                  <a:lnTo>
                    <a:pt x="90" y="334"/>
                  </a:lnTo>
                  <a:lnTo>
                    <a:pt x="80" y="315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61" y="251"/>
                  </a:lnTo>
                  <a:lnTo>
                    <a:pt x="45" y="211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5" y="99"/>
                  </a:lnTo>
                  <a:lnTo>
                    <a:pt x="2" y="86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54"/>
                  </a:lnTo>
                  <a:lnTo>
                    <a:pt x="5" y="40"/>
                  </a:lnTo>
                  <a:lnTo>
                    <a:pt x="10" y="26"/>
                  </a:lnTo>
                  <a:lnTo>
                    <a:pt x="16" y="19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33" y="7"/>
                  </a:lnTo>
                  <a:lnTo>
                    <a:pt x="45" y="4"/>
                  </a:lnTo>
                  <a:lnTo>
                    <a:pt x="59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104" y="0"/>
                  </a:lnTo>
                  <a:lnTo>
                    <a:pt x="134" y="4"/>
                  </a:lnTo>
                  <a:lnTo>
                    <a:pt x="163" y="9"/>
                  </a:lnTo>
                  <a:lnTo>
                    <a:pt x="191" y="19"/>
                  </a:lnTo>
                  <a:lnTo>
                    <a:pt x="217" y="32"/>
                  </a:lnTo>
                  <a:lnTo>
                    <a:pt x="243" y="47"/>
                  </a:lnTo>
                  <a:lnTo>
                    <a:pt x="266" y="65"/>
                  </a:lnTo>
                  <a:lnTo>
                    <a:pt x="287" y="86"/>
                  </a:lnTo>
                  <a:lnTo>
                    <a:pt x="287" y="86"/>
                  </a:lnTo>
                  <a:lnTo>
                    <a:pt x="297" y="98"/>
                  </a:lnTo>
                  <a:lnTo>
                    <a:pt x="306" y="110"/>
                  </a:lnTo>
                  <a:lnTo>
                    <a:pt x="313" y="122"/>
                  </a:lnTo>
                  <a:lnTo>
                    <a:pt x="320" y="136"/>
                  </a:lnTo>
                  <a:lnTo>
                    <a:pt x="330" y="164"/>
                  </a:lnTo>
                  <a:lnTo>
                    <a:pt x="337" y="193"/>
                  </a:lnTo>
                  <a:lnTo>
                    <a:pt x="339" y="207"/>
                  </a:lnTo>
                  <a:lnTo>
                    <a:pt x="339" y="223"/>
                  </a:lnTo>
                  <a:lnTo>
                    <a:pt x="339" y="237"/>
                  </a:lnTo>
                  <a:lnTo>
                    <a:pt x="337" y="253"/>
                  </a:lnTo>
                  <a:lnTo>
                    <a:pt x="334" y="266"/>
                  </a:lnTo>
                  <a:lnTo>
                    <a:pt x="330" y="280"/>
                  </a:lnTo>
                  <a:lnTo>
                    <a:pt x="325" y="294"/>
                  </a:lnTo>
                  <a:lnTo>
                    <a:pt x="320" y="308"/>
                  </a:lnTo>
                  <a:lnTo>
                    <a:pt x="320" y="308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8">
              <a:extLst>
                <a:ext uri="{FF2B5EF4-FFF2-40B4-BE49-F238E27FC236}">
                  <a16:creationId xmlns:a16="http://schemas.microsoft.com/office/drawing/2014/main" id="{B652694F-85D4-43E9-80CD-22702A5B1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7101" y="-1275836"/>
              <a:ext cx="207962" cy="60325"/>
            </a:xfrm>
            <a:custGeom>
              <a:avLst/>
              <a:gdLst>
                <a:gd name="T0" fmla="*/ 257 w 261"/>
                <a:gd name="T1" fmla="*/ 18 h 77"/>
                <a:gd name="T2" fmla="*/ 257 w 261"/>
                <a:gd name="T3" fmla="*/ 18 h 77"/>
                <a:gd name="T4" fmla="*/ 252 w 261"/>
                <a:gd name="T5" fmla="*/ 14 h 77"/>
                <a:gd name="T6" fmla="*/ 247 w 261"/>
                <a:gd name="T7" fmla="*/ 11 h 77"/>
                <a:gd name="T8" fmla="*/ 231 w 261"/>
                <a:gd name="T9" fmla="*/ 4 h 77"/>
                <a:gd name="T10" fmla="*/ 215 w 261"/>
                <a:gd name="T11" fmla="*/ 2 h 77"/>
                <a:gd name="T12" fmla="*/ 198 w 261"/>
                <a:gd name="T13" fmla="*/ 0 h 77"/>
                <a:gd name="T14" fmla="*/ 181 w 261"/>
                <a:gd name="T15" fmla="*/ 0 h 77"/>
                <a:gd name="T16" fmla="*/ 163 w 261"/>
                <a:gd name="T17" fmla="*/ 2 h 77"/>
                <a:gd name="T18" fmla="*/ 134 w 261"/>
                <a:gd name="T19" fmla="*/ 5 h 77"/>
                <a:gd name="T20" fmla="*/ 134 w 261"/>
                <a:gd name="T21" fmla="*/ 5 h 77"/>
                <a:gd name="T22" fmla="*/ 99 w 261"/>
                <a:gd name="T23" fmla="*/ 12 h 77"/>
                <a:gd name="T24" fmla="*/ 80 w 261"/>
                <a:gd name="T25" fmla="*/ 16 h 77"/>
                <a:gd name="T26" fmla="*/ 62 w 261"/>
                <a:gd name="T27" fmla="*/ 23 h 77"/>
                <a:gd name="T28" fmla="*/ 47 w 261"/>
                <a:gd name="T29" fmla="*/ 30 h 77"/>
                <a:gd name="T30" fmla="*/ 29 w 261"/>
                <a:gd name="T31" fmla="*/ 37 h 77"/>
                <a:gd name="T32" fmla="*/ 15 w 261"/>
                <a:gd name="T33" fmla="*/ 47 h 77"/>
                <a:gd name="T34" fmla="*/ 3 w 261"/>
                <a:gd name="T35" fmla="*/ 59 h 77"/>
                <a:gd name="T36" fmla="*/ 3 w 261"/>
                <a:gd name="T37" fmla="*/ 59 h 77"/>
                <a:gd name="T38" fmla="*/ 1 w 261"/>
                <a:gd name="T39" fmla="*/ 63 h 77"/>
                <a:gd name="T40" fmla="*/ 0 w 261"/>
                <a:gd name="T41" fmla="*/ 66 h 77"/>
                <a:gd name="T42" fmla="*/ 1 w 261"/>
                <a:gd name="T43" fmla="*/ 71 h 77"/>
                <a:gd name="T44" fmla="*/ 7 w 261"/>
                <a:gd name="T45" fmla="*/ 77 h 77"/>
                <a:gd name="T46" fmla="*/ 8 w 261"/>
                <a:gd name="T47" fmla="*/ 77 h 77"/>
                <a:gd name="T48" fmla="*/ 14 w 261"/>
                <a:gd name="T49" fmla="*/ 77 h 77"/>
                <a:gd name="T50" fmla="*/ 14 w 261"/>
                <a:gd name="T51" fmla="*/ 77 h 77"/>
                <a:gd name="T52" fmla="*/ 29 w 261"/>
                <a:gd name="T53" fmla="*/ 73 h 77"/>
                <a:gd name="T54" fmla="*/ 45 w 261"/>
                <a:gd name="T55" fmla="*/ 68 h 77"/>
                <a:gd name="T56" fmla="*/ 78 w 261"/>
                <a:gd name="T57" fmla="*/ 58 h 77"/>
                <a:gd name="T58" fmla="*/ 109 w 261"/>
                <a:gd name="T59" fmla="*/ 47 h 77"/>
                <a:gd name="T60" fmla="*/ 127 w 261"/>
                <a:gd name="T61" fmla="*/ 44 h 77"/>
                <a:gd name="T62" fmla="*/ 144 w 261"/>
                <a:gd name="T63" fmla="*/ 40 h 77"/>
                <a:gd name="T64" fmla="*/ 144 w 261"/>
                <a:gd name="T65" fmla="*/ 40 h 77"/>
                <a:gd name="T66" fmla="*/ 174 w 261"/>
                <a:gd name="T67" fmla="*/ 38 h 77"/>
                <a:gd name="T68" fmla="*/ 203 w 261"/>
                <a:gd name="T69" fmla="*/ 38 h 77"/>
                <a:gd name="T70" fmla="*/ 203 w 261"/>
                <a:gd name="T71" fmla="*/ 38 h 77"/>
                <a:gd name="T72" fmla="*/ 229 w 261"/>
                <a:gd name="T73" fmla="*/ 42 h 77"/>
                <a:gd name="T74" fmla="*/ 241 w 261"/>
                <a:gd name="T75" fmla="*/ 40 h 77"/>
                <a:gd name="T76" fmla="*/ 255 w 261"/>
                <a:gd name="T77" fmla="*/ 37 h 77"/>
                <a:gd name="T78" fmla="*/ 255 w 261"/>
                <a:gd name="T79" fmla="*/ 37 h 77"/>
                <a:gd name="T80" fmla="*/ 259 w 261"/>
                <a:gd name="T81" fmla="*/ 33 h 77"/>
                <a:gd name="T82" fmla="*/ 261 w 261"/>
                <a:gd name="T83" fmla="*/ 28 h 77"/>
                <a:gd name="T84" fmla="*/ 261 w 261"/>
                <a:gd name="T85" fmla="*/ 23 h 77"/>
                <a:gd name="T86" fmla="*/ 257 w 261"/>
                <a:gd name="T87" fmla="*/ 18 h 77"/>
                <a:gd name="T88" fmla="*/ 257 w 261"/>
                <a:gd name="T89" fmla="*/ 1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1" h="77">
                  <a:moveTo>
                    <a:pt x="257" y="18"/>
                  </a:moveTo>
                  <a:lnTo>
                    <a:pt x="257" y="18"/>
                  </a:lnTo>
                  <a:lnTo>
                    <a:pt x="252" y="14"/>
                  </a:lnTo>
                  <a:lnTo>
                    <a:pt x="247" y="11"/>
                  </a:lnTo>
                  <a:lnTo>
                    <a:pt x="231" y="4"/>
                  </a:lnTo>
                  <a:lnTo>
                    <a:pt x="215" y="2"/>
                  </a:lnTo>
                  <a:lnTo>
                    <a:pt x="198" y="0"/>
                  </a:lnTo>
                  <a:lnTo>
                    <a:pt x="181" y="0"/>
                  </a:lnTo>
                  <a:lnTo>
                    <a:pt x="163" y="2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99" y="12"/>
                  </a:lnTo>
                  <a:lnTo>
                    <a:pt x="80" y="16"/>
                  </a:lnTo>
                  <a:lnTo>
                    <a:pt x="62" y="23"/>
                  </a:lnTo>
                  <a:lnTo>
                    <a:pt x="47" y="30"/>
                  </a:lnTo>
                  <a:lnTo>
                    <a:pt x="29" y="37"/>
                  </a:lnTo>
                  <a:lnTo>
                    <a:pt x="15" y="47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1" y="63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7" y="77"/>
                  </a:lnTo>
                  <a:lnTo>
                    <a:pt x="8" y="77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29" y="73"/>
                  </a:lnTo>
                  <a:lnTo>
                    <a:pt x="45" y="68"/>
                  </a:lnTo>
                  <a:lnTo>
                    <a:pt x="78" y="58"/>
                  </a:lnTo>
                  <a:lnTo>
                    <a:pt x="109" y="47"/>
                  </a:lnTo>
                  <a:lnTo>
                    <a:pt x="127" y="44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74" y="38"/>
                  </a:lnTo>
                  <a:lnTo>
                    <a:pt x="203" y="38"/>
                  </a:lnTo>
                  <a:lnTo>
                    <a:pt x="203" y="38"/>
                  </a:lnTo>
                  <a:lnTo>
                    <a:pt x="229" y="42"/>
                  </a:lnTo>
                  <a:lnTo>
                    <a:pt x="241" y="40"/>
                  </a:lnTo>
                  <a:lnTo>
                    <a:pt x="255" y="37"/>
                  </a:lnTo>
                  <a:lnTo>
                    <a:pt x="255" y="37"/>
                  </a:lnTo>
                  <a:lnTo>
                    <a:pt x="259" y="33"/>
                  </a:lnTo>
                  <a:lnTo>
                    <a:pt x="261" y="28"/>
                  </a:lnTo>
                  <a:lnTo>
                    <a:pt x="261" y="23"/>
                  </a:lnTo>
                  <a:lnTo>
                    <a:pt x="257" y="18"/>
                  </a:lnTo>
                  <a:lnTo>
                    <a:pt x="257" y="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0">
              <a:extLst>
                <a:ext uri="{FF2B5EF4-FFF2-40B4-BE49-F238E27FC236}">
                  <a16:creationId xmlns:a16="http://schemas.microsoft.com/office/drawing/2014/main" id="{DE6732C4-8E0A-474C-8120-17F1D9D75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3751" y="-1155186"/>
              <a:ext cx="174625" cy="296862"/>
            </a:xfrm>
            <a:custGeom>
              <a:avLst/>
              <a:gdLst>
                <a:gd name="T0" fmla="*/ 0 w 221"/>
                <a:gd name="T1" fmla="*/ 35 h 374"/>
                <a:gd name="T2" fmla="*/ 0 w 221"/>
                <a:gd name="T3" fmla="*/ 35 h 374"/>
                <a:gd name="T4" fmla="*/ 4 w 221"/>
                <a:gd name="T5" fmla="*/ 18 h 374"/>
                <a:gd name="T6" fmla="*/ 5 w 221"/>
                <a:gd name="T7" fmla="*/ 12 h 374"/>
                <a:gd name="T8" fmla="*/ 9 w 221"/>
                <a:gd name="T9" fmla="*/ 7 h 374"/>
                <a:gd name="T10" fmla="*/ 12 w 221"/>
                <a:gd name="T11" fmla="*/ 4 h 374"/>
                <a:gd name="T12" fmla="*/ 17 w 221"/>
                <a:gd name="T13" fmla="*/ 2 h 374"/>
                <a:gd name="T14" fmla="*/ 23 w 221"/>
                <a:gd name="T15" fmla="*/ 0 h 374"/>
                <a:gd name="T16" fmla="*/ 28 w 221"/>
                <a:gd name="T17" fmla="*/ 0 h 374"/>
                <a:gd name="T18" fmla="*/ 38 w 221"/>
                <a:gd name="T19" fmla="*/ 2 h 374"/>
                <a:gd name="T20" fmla="*/ 52 w 221"/>
                <a:gd name="T21" fmla="*/ 7 h 374"/>
                <a:gd name="T22" fmla="*/ 64 w 221"/>
                <a:gd name="T23" fmla="*/ 16 h 374"/>
                <a:gd name="T24" fmla="*/ 80 w 221"/>
                <a:gd name="T25" fmla="*/ 26 h 374"/>
                <a:gd name="T26" fmla="*/ 108 w 221"/>
                <a:gd name="T27" fmla="*/ 52 h 374"/>
                <a:gd name="T28" fmla="*/ 132 w 221"/>
                <a:gd name="T29" fmla="*/ 78 h 374"/>
                <a:gd name="T30" fmla="*/ 153 w 221"/>
                <a:gd name="T31" fmla="*/ 103 h 374"/>
                <a:gd name="T32" fmla="*/ 164 w 221"/>
                <a:gd name="T33" fmla="*/ 118 h 374"/>
                <a:gd name="T34" fmla="*/ 164 w 221"/>
                <a:gd name="T35" fmla="*/ 118 h 374"/>
                <a:gd name="T36" fmla="*/ 176 w 221"/>
                <a:gd name="T37" fmla="*/ 143 h 374"/>
                <a:gd name="T38" fmla="*/ 188 w 221"/>
                <a:gd name="T39" fmla="*/ 169 h 374"/>
                <a:gd name="T40" fmla="*/ 197 w 221"/>
                <a:gd name="T41" fmla="*/ 195 h 374"/>
                <a:gd name="T42" fmla="*/ 205 w 221"/>
                <a:gd name="T43" fmla="*/ 223 h 374"/>
                <a:gd name="T44" fmla="*/ 212 w 221"/>
                <a:gd name="T45" fmla="*/ 251 h 374"/>
                <a:gd name="T46" fmla="*/ 217 w 221"/>
                <a:gd name="T47" fmla="*/ 278 h 374"/>
                <a:gd name="T48" fmla="*/ 221 w 221"/>
                <a:gd name="T49" fmla="*/ 306 h 374"/>
                <a:gd name="T50" fmla="*/ 221 w 221"/>
                <a:gd name="T51" fmla="*/ 334 h 374"/>
                <a:gd name="T52" fmla="*/ 221 w 221"/>
                <a:gd name="T53" fmla="*/ 334 h 374"/>
                <a:gd name="T54" fmla="*/ 219 w 221"/>
                <a:gd name="T55" fmla="*/ 348 h 374"/>
                <a:gd name="T56" fmla="*/ 217 w 221"/>
                <a:gd name="T57" fmla="*/ 353 h 374"/>
                <a:gd name="T58" fmla="*/ 216 w 221"/>
                <a:gd name="T59" fmla="*/ 360 h 374"/>
                <a:gd name="T60" fmla="*/ 216 w 221"/>
                <a:gd name="T61" fmla="*/ 360 h 374"/>
                <a:gd name="T62" fmla="*/ 210 w 221"/>
                <a:gd name="T63" fmla="*/ 365 h 374"/>
                <a:gd name="T64" fmla="*/ 205 w 221"/>
                <a:gd name="T65" fmla="*/ 369 h 374"/>
                <a:gd name="T66" fmla="*/ 200 w 221"/>
                <a:gd name="T67" fmla="*/ 372 h 374"/>
                <a:gd name="T68" fmla="*/ 193 w 221"/>
                <a:gd name="T69" fmla="*/ 374 h 374"/>
                <a:gd name="T70" fmla="*/ 177 w 221"/>
                <a:gd name="T71" fmla="*/ 374 h 374"/>
                <a:gd name="T72" fmla="*/ 164 w 221"/>
                <a:gd name="T73" fmla="*/ 372 h 374"/>
                <a:gd name="T74" fmla="*/ 164 w 221"/>
                <a:gd name="T75" fmla="*/ 372 h 374"/>
                <a:gd name="T76" fmla="*/ 151 w 221"/>
                <a:gd name="T77" fmla="*/ 367 h 374"/>
                <a:gd name="T78" fmla="*/ 139 w 221"/>
                <a:gd name="T79" fmla="*/ 362 h 374"/>
                <a:gd name="T80" fmla="*/ 129 w 221"/>
                <a:gd name="T81" fmla="*/ 353 h 374"/>
                <a:gd name="T82" fmla="*/ 118 w 221"/>
                <a:gd name="T83" fmla="*/ 346 h 374"/>
                <a:gd name="T84" fmla="*/ 108 w 221"/>
                <a:gd name="T85" fmla="*/ 336 h 374"/>
                <a:gd name="T86" fmla="*/ 99 w 221"/>
                <a:gd name="T87" fmla="*/ 325 h 374"/>
                <a:gd name="T88" fmla="*/ 84 w 221"/>
                <a:gd name="T89" fmla="*/ 305 h 374"/>
                <a:gd name="T90" fmla="*/ 84 w 221"/>
                <a:gd name="T91" fmla="*/ 305 h 374"/>
                <a:gd name="T92" fmla="*/ 71 w 221"/>
                <a:gd name="T93" fmla="*/ 280 h 374"/>
                <a:gd name="T94" fmla="*/ 61 w 221"/>
                <a:gd name="T95" fmla="*/ 256 h 374"/>
                <a:gd name="T96" fmla="*/ 52 w 221"/>
                <a:gd name="T97" fmla="*/ 230 h 374"/>
                <a:gd name="T98" fmla="*/ 45 w 221"/>
                <a:gd name="T99" fmla="*/ 204 h 374"/>
                <a:gd name="T100" fmla="*/ 45 w 221"/>
                <a:gd name="T101" fmla="*/ 204 h 374"/>
                <a:gd name="T102" fmla="*/ 9 w 221"/>
                <a:gd name="T103" fmla="*/ 85 h 374"/>
                <a:gd name="T104" fmla="*/ 9 w 221"/>
                <a:gd name="T105" fmla="*/ 85 h 374"/>
                <a:gd name="T106" fmla="*/ 4 w 221"/>
                <a:gd name="T107" fmla="*/ 59 h 374"/>
                <a:gd name="T108" fmla="*/ 2 w 221"/>
                <a:gd name="T109" fmla="*/ 47 h 374"/>
                <a:gd name="T110" fmla="*/ 0 w 221"/>
                <a:gd name="T111" fmla="*/ 35 h 374"/>
                <a:gd name="T112" fmla="*/ 0 w 221"/>
                <a:gd name="T113" fmla="*/ 35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1" h="374">
                  <a:moveTo>
                    <a:pt x="0" y="35"/>
                  </a:moveTo>
                  <a:lnTo>
                    <a:pt x="0" y="35"/>
                  </a:lnTo>
                  <a:lnTo>
                    <a:pt x="4" y="18"/>
                  </a:lnTo>
                  <a:lnTo>
                    <a:pt x="5" y="12"/>
                  </a:lnTo>
                  <a:lnTo>
                    <a:pt x="9" y="7"/>
                  </a:lnTo>
                  <a:lnTo>
                    <a:pt x="12" y="4"/>
                  </a:lnTo>
                  <a:lnTo>
                    <a:pt x="17" y="2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38" y="2"/>
                  </a:lnTo>
                  <a:lnTo>
                    <a:pt x="52" y="7"/>
                  </a:lnTo>
                  <a:lnTo>
                    <a:pt x="64" y="16"/>
                  </a:lnTo>
                  <a:lnTo>
                    <a:pt x="80" y="26"/>
                  </a:lnTo>
                  <a:lnTo>
                    <a:pt x="108" y="52"/>
                  </a:lnTo>
                  <a:lnTo>
                    <a:pt x="132" y="78"/>
                  </a:lnTo>
                  <a:lnTo>
                    <a:pt x="153" y="103"/>
                  </a:lnTo>
                  <a:lnTo>
                    <a:pt x="164" y="118"/>
                  </a:lnTo>
                  <a:lnTo>
                    <a:pt x="164" y="118"/>
                  </a:lnTo>
                  <a:lnTo>
                    <a:pt x="176" y="143"/>
                  </a:lnTo>
                  <a:lnTo>
                    <a:pt x="188" y="169"/>
                  </a:lnTo>
                  <a:lnTo>
                    <a:pt x="197" y="195"/>
                  </a:lnTo>
                  <a:lnTo>
                    <a:pt x="205" y="223"/>
                  </a:lnTo>
                  <a:lnTo>
                    <a:pt x="212" y="251"/>
                  </a:lnTo>
                  <a:lnTo>
                    <a:pt x="217" y="278"/>
                  </a:lnTo>
                  <a:lnTo>
                    <a:pt x="221" y="306"/>
                  </a:lnTo>
                  <a:lnTo>
                    <a:pt x="221" y="334"/>
                  </a:lnTo>
                  <a:lnTo>
                    <a:pt x="221" y="334"/>
                  </a:lnTo>
                  <a:lnTo>
                    <a:pt x="219" y="348"/>
                  </a:lnTo>
                  <a:lnTo>
                    <a:pt x="217" y="353"/>
                  </a:lnTo>
                  <a:lnTo>
                    <a:pt x="216" y="360"/>
                  </a:lnTo>
                  <a:lnTo>
                    <a:pt x="216" y="360"/>
                  </a:lnTo>
                  <a:lnTo>
                    <a:pt x="210" y="365"/>
                  </a:lnTo>
                  <a:lnTo>
                    <a:pt x="205" y="369"/>
                  </a:lnTo>
                  <a:lnTo>
                    <a:pt x="200" y="372"/>
                  </a:lnTo>
                  <a:lnTo>
                    <a:pt x="193" y="374"/>
                  </a:lnTo>
                  <a:lnTo>
                    <a:pt x="177" y="374"/>
                  </a:lnTo>
                  <a:lnTo>
                    <a:pt x="164" y="372"/>
                  </a:lnTo>
                  <a:lnTo>
                    <a:pt x="164" y="372"/>
                  </a:lnTo>
                  <a:lnTo>
                    <a:pt x="151" y="367"/>
                  </a:lnTo>
                  <a:lnTo>
                    <a:pt x="139" y="362"/>
                  </a:lnTo>
                  <a:lnTo>
                    <a:pt x="129" y="353"/>
                  </a:lnTo>
                  <a:lnTo>
                    <a:pt x="118" y="346"/>
                  </a:lnTo>
                  <a:lnTo>
                    <a:pt x="108" y="336"/>
                  </a:lnTo>
                  <a:lnTo>
                    <a:pt x="99" y="325"/>
                  </a:lnTo>
                  <a:lnTo>
                    <a:pt x="84" y="305"/>
                  </a:lnTo>
                  <a:lnTo>
                    <a:pt x="84" y="305"/>
                  </a:lnTo>
                  <a:lnTo>
                    <a:pt x="71" y="280"/>
                  </a:lnTo>
                  <a:lnTo>
                    <a:pt x="61" y="256"/>
                  </a:lnTo>
                  <a:lnTo>
                    <a:pt x="52" y="230"/>
                  </a:lnTo>
                  <a:lnTo>
                    <a:pt x="45" y="204"/>
                  </a:lnTo>
                  <a:lnTo>
                    <a:pt x="45" y="204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4" y="59"/>
                  </a:lnTo>
                  <a:lnTo>
                    <a:pt x="2" y="47"/>
                  </a:lnTo>
                  <a:lnTo>
                    <a:pt x="0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3">
              <a:extLst>
                <a:ext uri="{FF2B5EF4-FFF2-40B4-BE49-F238E27FC236}">
                  <a16:creationId xmlns:a16="http://schemas.microsoft.com/office/drawing/2014/main" id="{06329349-3C8E-42E6-A2F8-360FFD6EF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9163" y="-1640961"/>
              <a:ext cx="206375" cy="290512"/>
            </a:xfrm>
            <a:custGeom>
              <a:avLst/>
              <a:gdLst>
                <a:gd name="T0" fmla="*/ 249 w 259"/>
                <a:gd name="T1" fmla="*/ 90 h 367"/>
                <a:gd name="T2" fmla="*/ 238 w 259"/>
                <a:gd name="T3" fmla="*/ 63 h 367"/>
                <a:gd name="T4" fmla="*/ 226 w 259"/>
                <a:gd name="T5" fmla="*/ 37 h 367"/>
                <a:gd name="T6" fmla="*/ 216 w 259"/>
                <a:gd name="T7" fmla="*/ 10 h 367"/>
                <a:gd name="T8" fmla="*/ 211 w 259"/>
                <a:gd name="T9" fmla="*/ 5 h 367"/>
                <a:gd name="T10" fmla="*/ 197 w 259"/>
                <a:gd name="T11" fmla="*/ 0 h 367"/>
                <a:gd name="T12" fmla="*/ 171 w 259"/>
                <a:gd name="T13" fmla="*/ 0 h 367"/>
                <a:gd name="T14" fmla="*/ 129 w 259"/>
                <a:gd name="T15" fmla="*/ 2 h 367"/>
                <a:gd name="T16" fmla="*/ 105 w 259"/>
                <a:gd name="T17" fmla="*/ 9 h 367"/>
                <a:gd name="T18" fmla="*/ 92 w 259"/>
                <a:gd name="T19" fmla="*/ 14 h 367"/>
                <a:gd name="T20" fmla="*/ 59 w 259"/>
                <a:gd name="T21" fmla="*/ 40 h 367"/>
                <a:gd name="T22" fmla="*/ 35 w 259"/>
                <a:gd name="T23" fmla="*/ 73 h 367"/>
                <a:gd name="T24" fmla="*/ 26 w 259"/>
                <a:gd name="T25" fmla="*/ 90 h 367"/>
                <a:gd name="T26" fmla="*/ 11 w 259"/>
                <a:gd name="T27" fmla="*/ 129 h 367"/>
                <a:gd name="T28" fmla="*/ 2 w 259"/>
                <a:gd name="T29" fmla="*/ 170 h 367"/>
                <a:gd name="T30" fmla="*/ 0 w 259"/>
                <a:gd name="T31" fmla="*/ 212 h 367"/>
                <a:gd name="T32" fmla="*/ 2 w 259"/>
                <a:gd name="T33" fmla="*/ 231 h 367"/>
                <a:gd name="T34" fmla="*/ 9 w 259"/>
                <a:gd name="T35" fmla="*/ 261 h 367"/>
                <a:gd name="T36" fmla="*/ 19 w 259"/>
                <a:gd name="T37" fmla="*/ 287 h 367"/>
                <a:gd name="T38" fmla="*/ 33 w 259"/>
                <a:gd name="T39" fmla="*/ 310 h 367"/>
                <a:gd name="T40" fmla="*/ 51 w 259"/>
                <a:gd name="T41" fmla="*/ 329 h 367"/>
                <a:gd name="T42" fmla="*/ 73 w 259"/>
                <a:gd name="T43" fmla="*/ 344 h 367"/>
                <a:gd name="T44" fmla="*/ 98 w 259"/>
                <a:gd name="T45" fmla="*/ 357 h 367"/>
                <a:gd name="T46" fmla="*/ 124 w 259"/>
                <a:gd name="T47" fmla="*/ 364 h 367"/>
                <a:gd name="T48" fmla="*/ 153 w 259"/>
                <a:gd name="T49" fmla="*/ 367 h 367"/>
                <a:gd name="T50" fmla="*/ 174 w 259"/>
                <a:gd name="T51" fmla="*/ 367 h 367"/>
                <a:gd name="T52" fmla="*/ 179 w 259"/>
                <a:gd name="T53" fmla="*/ 365 h 367"/>
                <a:gd name="T54" fmla="*/ 190 w 259"/>
                <a:gd name="T55" fmla="*/ 358 h 367"/>
                <a:gd name="T56" fmla="*/ 202 w 259"/>
                <a:gd name="T57" fmla="*/ 337 h 367"/>
                <a:gd name="T58" fmla="*/ 209 w 259"/>
                <a:gd name="T59" fmla="*/ 327 h 367"/>
                <a:gd name="T60" fmla="*/ 235 w 259"/>
                <a:gd name="T61" fmla="*/ 290 h 367"/>
                <a:gd name="T62" fmla="*/ 242 w 259"/>
                <a:gd name="T63" fmla="*/ 275 h 367"/>
                <a:gd name="T64" fmla="*/ 254 w 259"/>
                <a:gd name="T65" fmla="*/ 231 h 367"/>
                <a:gd name="T66" fmla="*/ 259 w 259"/>
                <a:gd name="T67" fmla="*/ 184 h 367"/>
                <a:gd name="T68" fmla="*/ 258 w 259"/>
                <a:gd name="T69" fmla="*/ 136 h 367"/>
                <a:gd name="T70" fmla="*/ 249 w 259"/>
                <a:gd name="T71" fmla="*/ 9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9" h="367">
                  <a:moveTo>
                    <a:pt x="249" y="90"/>
                  </a:moveTo>
                  <a:lnTo>
                    <a:pt x="249" y="90"/>
                  </a:lnTo>
                  <a:lnTo>
                    <a:pt x="244" y="77"/>
                  </a:lnTo>
                  <a:lnTo>
                    <a:pt x="238" y="63"/>
                  </a:lnTo>
                  <a:lnTo>
                    <a:pt x="226" y="37"/>
                  </a:lnTo>
                  <a:lnTo>
                    <a:pt x="226" y="37"/>
                  </a:lnTo>
                  <a:lnTo>
                    <a:pt x="219" y="19"/>
                  </a:lnTo>
                  <a:lnTo>
                    <a:pt x="216" y="10"/>
                  </a:lnTo>
                  <a:lnTo>
                    <a:pt x="211" y="5"/>
                  </a:lnTo>
                  <a:lnTo>
                    <a:pt x="211" y="5"/>
                  </a:lnTo>
                  <a:lnTo>
                    <a:pt x="205" y="2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71" y="0"/>
                  </a:lnTo>
                  <a:lnTo>
                    <a:pt x="143" y="0"/>
                  </a:lnTo>
                  <a:lnTo>
                    <a:pt x="129" y="2"/>
                  </a:lnTo>
                  <a:lnTo>
                    <a:pt x="117" y="5"/>
                  </a:lnTo>
                  <a:lnTo>
                    <a:pt x="105" y="9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75" y="26"/>
                  </a:lnTo>
                  <a:lnTo>
                    <a:pt x="59" y="40"/>
                  </a:lnTo>
                  <a:lnTo>
                    <a:pt x="47" y="56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26" y="90"/>
                  </a:lnTo>
                  <a:lnTo>
                    <a:pt x="18" y="110"/>
                  </a:lnTo>
                  <a:lnTo>
                    <a:pt x="11" y="129"/>
                  </a:lnTo>
                  <a:lnTo>
                    <a:pt x="6" y="150"/>
                  </a:lnTo>
                  <a:lnTo>
                    <a:pt x="2" y="170"/>
                  </a:lnTo>
                  <a:lnTo>
                    <a:pt x="0" y="191"/>
                  </a:lnTo>
                  <a:lnTo>
                    <a:pt x="0" y="212"/>
                  </a:lnTo>
                  <a:lnTo>
                    <a:pt x="2" y="231"/>
                  </a:lnTo>
                  <a:lnTo>
                    <a:pt x="2" y="231"/>
                  </a:lnTo>
                  <a:lnTo>
                    <a:pt x="6" y="247"/>
                  </a:lnTo>
                  <a:lnTo>
                    <a:pt x="9" y="261"/>
                  </a:lnTo>
                  <a:lnTo>
                    <a:pt x="12" y="275"/>
                  </a:lnTo>
                  <a:lnTo>
                    <a:pt x="19" y="287"/>
                  </a:lnTo>
                  <a:lnTo>
                    <a:pt x="26" y="299"/>
                  </a:lnTo>
                  <a:lnTo>
                    <a:pt x="33" y="310"/>
                  </a:lnTo>
                  <a:lnTo>
                    <a:pt x="42" y="320"/>
                  </a:lnTo>
                  <a:lnTo>
                    <a:pt x="51" y="329"/>
                  </a:lnTo>
                  <a:lnTo>
                    <a:pt x="61" y="337"/>
                  </a:lnTo>
                  <a:lnTo>
                    <a:pt x="73" y="344"/>
                  </a:lnTo>
                  <a:lnTo>
                    <a:pt x="85" y="350"/>
                  </a:lnTo>
                  <a:lnTo>
                    <a:pt x="98" y="357"/>
                  </a:lnTo>
                  <a:lnTo>
                    <a:pt x="110" y="360"/>
                  </a:lnTo>
                  <a:lnTo>
                    <a:pt x="124" y="364"/>
                  </a:lnTo>
                  <a:lnTo>
                    <a:pt x="153" y="367"/>
                  </a:lnTo>
                  <a:lnTo>
                    <a:pt x="153" y="367"/>
                  </a:lnTo>
                  <a:lnTo>
                    <a:pt x="167" y="367"/>
                  </a:lnTo>
                  <a:lnTo>
                    <a:pt x="174" y="367"/>
                  </a:lnTo>
                  <a:lnTo>
                    <a:pt x="179" y="365"/>
                  </a:lnTo>
                  <a:lnTo>
                    <a:pt x="179" y="365"/>
                  </a:lnTo>
                  <a:lnTo>
                    <a:pt x="185" y="362"/>
                  </a:lnTo>
                  <a:lnTo>
                    <a:pt x="190" y="358"/>
                  </a:lnTo>
                  <a:lnTo>
                    <a:pt x="197" y="348"/>
                  </a:lnTo>
                  <a:lnTo>
                    <a:pt x="202" y="337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28" y="303"/>
                  </a:lnTo>
                  <a:lnTo>
                    <a:pt x="235" y="290"/>
                  </a:lnTo>
                  <a:lnTo>
                    <a:pt x="242" y="275"/>
                  </a:lnTo>
                  <a:lnTo>
                    <a:pt x="242" y="275"/>
                  </a:lnTo>
                  <a:lnTo>
                    <a:pt x="249" y="254"/>
                  </a:lnTo>
                  <a:lnTo>
                    <a:pt x="254" y="231"/>
                  </a:lnTo>
                  <a:lnTo>
                    <a:pt x="258" y="207"/>
                  </a:lnTo>
                  <a:lnTo>
                    <a:pt x="259" y="184"/>
                  </a:lnTo>
                  <a:lnTo>
                    <a:pt x="259" y="160"/>
                  </a:lnTo>
                  <a:lnTo>
                    <a:pt x="258" y="136"/>
                  </a:lnTo>
                  <a:lnTo>
                    <a:pt x="254" y="113"/>
                  </a:lnTo>
                  <a:lnTo>
                    <a:pt x="249" y="90"/>
                  </a:lnTo>
                  <a:lnTo>
                    <a:pt x="249" y="9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4">
              <a:extLst>
                <a:ext uri="{FF2B5EF4-FFF2-40B4-BE49-F238E27FC236}">
                  <a16:creationId xmlns:a16="http://schemas.microsoft.com/office/drawing/2014/main" id="{5DD3F4C7-4704-4842-8D80-D3E52E0C3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2338" y="-1640961"/>
              <a:ext cx="234950" cy="290512"/>
            </a:xfrm>
            <a:custGeom>
              <a:avLst/>
              <a:gdLst>
                <a:gd name="T0" fmla="*/ 269 w 295"/>
                <a:gd name="T1" fmla="*/ 56 h 367"/>
                <a:gd name="T2" fmla="*/ 228 w 295"/>
                <a:gd name="T3" fmla="*/ 9 h 367"/>
                <a:gd name="T4" fmla="*/ 189 w 295"/>
                <a:gd name="T5" fmla="*/ 0 h 367"/>
                <a:gd name="T6" fmla="*/ 139 w 295"/>
                <a:gd name="T7" fmla="*/ 12 h 367"/>
                <a:gd name="T8" fmla="*/ 135 w 295"/>
                <a:gd name="T9" fmla="*/ 9 h 367"/>
                <a:gd name="T10" fmla="*/ 94 w 295"/>
                <a:gd name="T11" fmla="*/ 12 h 367"/>
                <a:gd name="T12" fmla="*/ 102 w 295"/>
                <a:gd name="T13" fmla="*/ 17 h 367"/>
                <a:gd name="T14" fmla="*/ 116 w 295"/>
                <a:gd name="T15" fmla="*/ 26 h 367"/>
                <a:gd name="T16" fmla="*/ 95 w 295"/>
                <a:gd name="T17" fmla="*/ 24 h 367"/>
                <a:gd name="T18" fmla="*/ 71 w 295"/>
                <a:gd name="T19" fmla="*/ 24 h 367"/>
                <a:gd name="T20" fmla="*/ 71 w 295"/>
                <a:gd name="T21" fmla="*/ 30 h 367"/>
                <a:gd name="T22" fmla="*/ 95 w 295"/>
                <a:gd name="T23" fmla="*/ 33 h 367"/>
                <a:gd name="T24" fmla="*/ 88 w 295"/>
                <a:gd name="T25" fmla="*/ 50 h 367"/>
                <a:gd name="T26" fmla="*/ 52 w 295"/>
                <a:gd name="T27" fmla="*/ 49 h 367"/>
                <a:gd name="T28" fmla="*/ 47 w 295"/>
                <a:gd name="T29" fmla="*/ 54 h 367"/>
                <a:gd name="T30" fmla="*/ 71 w 295"/>
                <a:gd name="T31" fmla="*/ 59 h 367"/>
                <a:gd name="T32" fmla="*/ 61 w 295"/>
                <a:gd name="T33" fmla="*/ 94 h 367"/>
                <a:gd name="T34" fmla="*/ 17 w 295"/>
                <a:gd name="T35" fmla="*/ 96 h 367"/>
                <a:gd name="T36" fmla="*/ 17 w 295"/>
                <a:gd name="T37" fmla="*/ 99 h 367"/>
                <a:gd name="T38" fmla="*/ 50 w 295"/>
                <a:gd name="T39" fmla="*/ 122 h 367"/>
                <a:gd name="T40" fmla="*/ 35 w 295"/>
                <a:gd name="T41" fmla="*/ 139 h 367"/>
                <a:gd name="T42" fmla="*/ 2 w 295"/>
                <a:gd name="T43" fmla="*/ 144 h 367"/>
                <a:gd name="T44" fmla="*/ 0 w 295"/>
                <a:gd name="T45" fmla="*/ 150 h 367"/>
                <a:gd name="T46" fmla="*/ 26 w 295"/>
                <a:gd name="T47" fmla="*/ 150 h 367"/>
                <a:gd name="T48" fmla="*/ 43 w 295"/>
                <a:gd name="T49" fmla="*/ 148 h 367"/>
                <a:gd name="T50" fmla="*/ 26 w 295"/>
                <a:gd name="T51" fmla="*/ 205 h 367"/>
                <a:gd name="T52" fmla="*/ 2 w 295"/>
                <a:gd name="T53" fmla="*/ 209 h 367"/>
                <a:gd name="T54" fmla="*/ 2 w 295"/>
                <a:gd name="T55" fmla="*/ 212 h 367"/>
                <a:gd name="T56" fmla="*/ 21 w 295"/>
                <a:gd name="T57" fmla="*/ 214 h 367"/>
                <a:gd name="T58" fmla="*/ 38 w 295"/>
                <a:gd name="T59" fmla="*/ 235 h 367"/>
                <a:gd name="T60" fmla="*/ 26 w 295"/>
                <a:gd name="T61" fmla="*/ 252 h 367"/>
                <a:gd name="T62" fmla="*/ 5 w 295"/>
                <a:gd name="T63" fmla="*/ 256 h 367"/>
                <a:gd name="T64" fmla="*/ 5 w 295"/>
                <a:gd name="T65" fmla="*/ 259 h 367"/>
                <a:gd name="T66" fmla="*/ 28 w 295"/>
                <a:gd name="T67" fmla="*/ 261 h 367"/>
                <a:gd name="T68" fmla="*/ 50 w 295"/>
                <a:gd name="T69" fmla="*/ 284 h 367"/>
                <a:gd name="T70" fmla="*/ 17 w 295"/>
                <a:gd name="T71" fmla="*/ 292 h 367"/>
                <a:gd name="T72" fmla="*/ 17 w 295"/>
                <a:gd name="T73" fmla="*/ 294 h 367"/>
                <a:gd name="T74" fmla="*/ 54 w 295"/>
                <a:gd name="T75" fmla="*/ 292 h 367"/>
                <a:gd name="T76" fmla="*/ 73 w 295"/>
                <a:gd name="T77" fmla="*/ 320 h 367"/>
                <a:gd name="T78" fmla="*/ 47 w 295"/>
                <a:gd name="T79" fmla="*/ 327 h 367"/>
                <a:gd name="T80" fmla="*/ 47 w 295"/>
                <a:gd name="T81" fmla="*/ 330 h 367"/>
                <a:gd name="T82" fmla="*/ 68 w 295"/>
                <a:gd name="T83" fmla="*/ 330 h 367"/>
                <a:gd name="T84" fmla="*/ 80 w 295"/>
                <a:gd name="T85" fmla="*/ 329 h 367"/>
                <a:gd name="T86" fmla="*/ 71 w 295"/>
                <a:gd name="T87" fmla="*/ 339 h 367"/>
                <a:gd name="T88" fmla="*/ 73 w 295"/>
                <a:gd name="T89" fmla="*/ 344 h 367"/>
                <a:gd name="T90" fmla="*/ 97 w 295"/>
                <a:gd name="T91" fmla="*/ 343 h 367"/>
                <a:gd name="T92" fmla="*/ 144 w 295"/>
                <a:gd name="T93" fmla="*/ 365 h 367"/>
                <a:gd name="T94" fmla="*/ 194 w 295"/>
                <a:gd name="T95" fmla="*/ 364 h 367"/>
                <a:gd name="T96" fmla="*/ 240 w 295"/>
                <a:gd name="T97" fmla="*/ 336 h 367"/>
                <a:gd name="T98" fmla="*/ 278 w 295"/>
                <a:gd name="T99" fmla="*/ 280 h 367"/>
                <a:gd name="T100" fmla="*/ 294 w 295"/>
                <a:gd name="T101" fmla="*/ 210 h 367"/>
                <a:gd name="T102" fmla="*/ 288 w 295"/>
                <a:gd name="T103" fmla="*/ 11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5" h="367">
                  <a:moveTo>
                    <a:pt x="283" y="94"/>
                  </a:moveTo>
                  <a:lnTo>
                    <a:pt x="283" y="94"/>
                  </a:lnTo>
                  <a:lnTo>
                    <a:pt x="278" y="75"/>
                  </a:lnTo>
                  <a:lnTo>
                    <a:pt x="269" y="56"/>
                  </a:lnTo>
                  <a:lnTo>
                    <a:pt x="261" y="38"/>
                  </a:lnTo>
                  <a:lnTo>
                    <a:pt x="248" y="24"/>
                  </a:lnTo>
                  <a:lnTo>
                    <a:pt x="234" y="12"/>
                  </a:lnTo>
                  <a:lnTo>
                    <a:pt x="228" y="9"/>
                  </a:lnTo>
                  <a:lnTo>
                    <a:pt x="219" y="5"/>
                  </a:lnTo>
                  <a:lnTo>
                    <a:pt x="208" y="2"/>
                  </a:lnTo>
                  <a:lnTo>
                    <a:pt x="200" y="0"/>
                  </a:lnTo>
                  <a:lnTo>
                    <a:pt x="189" y="0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58" y="5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37" y="10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15" y="9"/>
                  </a:lnTo>
                  <a:lnTo>
                    <a:pt x="104" y="9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2" y="14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102" y="17"/>
                  </a:lnTo>
                  <a:lnTo>
                    <a:pt x="111" y="17"/>
                  </a:lnTo>
                  <a:lnTo>
                    <a:pt x="127" y="17"/>
                  </a:lnTo>
                  <a:lnTo>
                    <a:pt x="127" y="17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1" y="24"/>
                  </a:lnTo>
                  <a:lnTo>
                    <a:pt x="106" y="24"/>
                  </a:lnTo>
                  <a:lnTo>
                    <a:pt x="95" y="24"/>
                  </a:lnTo>
                  <a:lnTo>
                    <a:pt x="95" y="24"/>
                  </a:lnTo>
                  <a:lnTo>
                    <a:pt x="83" y="23"/>
                  </a:lnTo>
                  <a:lnTo>
                    <a:pt x="76" y="23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6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6" y="31"/>
                  </a:lnTo>
                  <a:lnTo>
                    <a:pt x="83" y="31"/>
                  </a:lnTo>
                  <a:lnTo>
                    <a:pt x="95" y="33"/>
                  </a:lnTo>
                  <a:lnTo>
                    <a:pt x="95" y="33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57" y="49"/>
                  </a:lnTo>
                  <a:lnTo>
                    <a:pt x="52" y="49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52" y="57"/>
                  </a:lnTo>
                  <a:lnTo>
                    <a:pt x="57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71" y="77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40" y="92"/>
                  </a:lnTo>
                  <a:lnTo>
                    <a:pt x="17" y="96"/>
                  </a:lnTo>
                  <a:lnTo>
                    <a:pt x="17" y="96"/>
                  </a:lnTo>
                  <a:lnTo>
                    <a:pt x="17" y="96"/>
                  </a:lnTo>
                  <a:lnTo>
                    <a:pt x="15" y="97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36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0" y="122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0" y="139"/>
                  </a:lnTo>
                  <a:lnTo>
                    <a:pt x="35" y="139"/>
                  </a:lnTo>
                  <a:lnTo>
                    <a:pt x="24" y="141"/>
                  </a:lnTo>
                  <a:lnTo>
                    <a:pt x="24" y="141"/>
                  </a:lnTo>
                  <a:lnTo>
                    <a:pt x="12" y="143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48"/>
                  </a:lnTo>
                  <a:lnTo>
                    <a:pt x="0" y="150"/>
                  </a:lnTo>
                  <a:lnTo>
                    <a:pt x="2" y="150"/>
                  </a:lnTo>
                  <a:lnTo>
                    <a:pt x="2" y="150"/>
                  </a:lnTo>
                  <a:lnTo>
                    <a:pt x="14" y="150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35" y="150"/>
                  </a:lnTo>
                  <a:lnTo>
                    <a:pt x="43" y="148"/>
                  </a:lnTo>
                  <a:lnTo>
                    <a:pt x="43" y="148"/>
                  </a:lnTo>
                  <a:lnTo>
                    <a:pt x="38" y="176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26" y="205"/>
                  </a:lnTo>
                  <a:lnTo>
                    <a:pt x="17" y="207"/>
                  </a:lnTo>
                  <a:lnTo>
                    <a:pt x="17" y="207"/>
                  </a:lnTo>
                  <a:lnTo>
                    <a:pt x="8" y="207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0" y="210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5" y="214"/>
                  </a:lnTo>
                  <a:lnTo>
                    <a:pt x="10" y="216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8" y="214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8" y="235"/>
                  </a:lnTo>
                  <a:lnTo>
                    <a:pt x="38" y="235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26" y="252"/>
                  </a:lnTo>
                  <a:lnTo>
                    <a:pt x="26" y="252"/>
                  </a:lnTo>
                  <a:lnTo>
                    <a:pt x="15" y="252"/>
                  </a:lnTo>
                  <a:lnTo>
                    <a:pt x="10" y="254"/>
                  </a:lnTo>
                  <a:lnTo>
                    <a:pt x="5" y="256"/>
                  </a:lnTo>
                  <a:lnTo>
                    <a:pt x="5" y="256"/>
                  </a:lnTo>
                  <a:lnTo>
                    <a:pt x="5" y="257"/>
                  </a:lnTo>
                  <a:lnTo>
                    <a:pt x="5" y="259"/>
                  </a:lnTo>
                  <a:lnTo>
                    <a:pt x="5" y="259"/>
                  </a:lnTo>
                  <a:lnTo>
                    <a:pt x="10" y="263"/>
                  </a:lnTo>
                  <a:lnTo>
                    <a:pt x="15" y="263"/>
                  </a:lnTo>
                  <a:lnTo>
                    <a:pt x="28" y="261"/>
                  </a:lnTo>
                  <a:lnTo>
                    <a:pt x="28" y="261"/>
                  </a:lnTo>
                  <a:lnTo>
                    <a:pt x="43" y="261"/>
                  </a:lnTo>
                  <a:lnTo>
                    <a:pt x="43" y="261"/>
                  </a:lnTo>
                  <a:lnTo>
                    <a:pt x="50" y="284"/>
                  </a:lnTo>
                  <a:lnTo>
                    <a:pt x="50" y="284"/>
                  </a:lnTo>
                  <a:lnTo>
                    <a:pt x="40" y="287"/>
                  </a:lnTo>
                  <a:lnTo>
                    <a:pt x="40" y="287"/>
                  </a:lnTo>
                  <a:lnTo>
                    <a:pt x="28" y="289"/>
                  </a:lnTo>
                  <a:lnTo>
                    <a:pt x="17" y="292"/>
                  </a:lnTo>
                  <a:lnTo>
                    <a:pt x="17" y="292"/>
                  </a:lnTo>
                  <a:lnTo>
                    <a:pt x="17" y="294"/>
                  </a:lnTo>
                  <a:lnTo>
                    <a:pt x="17" y="294"/>
                  </a:lnTo>
                  <a:lnTo>
                    <a:pt x="17" y="294"/>
                  </a:lnTo>
                  <a:lnTo>
                    <a:pt x="29" y="296"/>
                  </a:lnTo>
                  <a:lnTo>
                    <a:pt x="40" y="294"/>
                  </a:lnTo>
                  <a:lnTo>
                    <a:pt x="40" y="294"/>
                  </a:lnTo>
                  <a:lnTo>
                    <a:pt x="54" y="292"/>
                  </a:lnTo>
                  <a:lnTo>
                    <a:pt x="54" y="292"/>
                  </a:lnTo>
                  <a:lnTo>
                    <a:pt x="62" y="308"/>
                  </a:lnTo>
                  <a:lnTo>
                    <a:pt x="73" y="320"/>
                  </a:lnTo>
                  <a:lnTo>
                    <a:pt x="73" y="320"/>
                  </a:lnTo>
                  <a:lnTo>
                    <a:pt x="66" y="322"/>
                  </a:lnTo>
                  <a:lnTo>
                    <a:pt x="66" y="322"/>
                  </a:lnTo>
                  <a:lnTo>
                    <a:pt x="55" y="324"/>
                  </a:lnTo>
                  <a:lnTo>
                    <a:pt x="47" y="327"/>
                  </a:lnTo>
                  <a:lnTo>
                    <a:pt x="47" y="327"/>
                  </a:lnTo>
                  <a:lnTo>
                    <a:pt x="45" y="327"/>
                  </a:lnTo>
                  <a:lnTo>
                    <a:pt x="45" y="329"/>
                  </a:lnTo>
                  <a:lnTo>
                    <a:pt x="47" y="330"/>
                  </a:lnTo>
                  <a:lnTo>
                    <a:pt x="47" y="332"/>
                  </a:lnTo>
                  <a:lnTo>
                    <a:pt x="47" y="332"/>
                  </a:lnTo>
                  <a:lnTo>
                    <a:pt x="57" y="332"/>
                  </a:lnTo>
                  <a:lnTo>
                    <a:pt x="68" y="330"/>
                  </a:lnTo>
                  <a:lnTo>
                    <a:pt x="68" y="330"/>
                  </a:lnTo>
                  <a:lnTo>
                    <a:pt x="75" y="330"/>
                  </a:lnTo>
                  <a:lnTo>
                    <a:pt x="80" y="329"/>
                  </a:lnTo>
                  <a:lnTo>
                    <a:pt x="80" y="329"/>
                  </a:lnTo>
                  <a:lnTo>
                    <a:pt x="88" y="336"/>
                  </a:lnTo>
                  <a:lnTo>
                    <a:pt x="88" y="336"/>
                  </a:lnTo>
                  <a:lnTo>
                    <a:pt x="80" y="337"/>
                  </a:lnTo>
                  <a:lnTo>
                    <a:pt x="71" y="339"/>
                  </a:lnTo>
                  <a:lnTo>
                    <a:pt x="71" y="339"/>
                  </a:lnTo>
                  <a:lnTo>
                    <a:pt x="71" y="341"/>
                  </a:lnTo>
                  <a:lnTo>
                    <a:pt x="69" y="343"/>
                  </a:lnTo>
                  <a:lnTo>
                    <a:pt x="73" y="344"/>
                  </a:lnTo>
                  <a:lnTo>
                    <a:pt x="73" y="344"/>
                  </a:lnTo>
                  <a:lnTo>
                    <a:pt x="85" y="344"/>
                  </a:lnTo>
                  <a:lnTo>
                    <a:pt x="97" y="343"/>
                  </a:lnTo>
                  <a:lnTo>
                    <a:pt x="97" y="343"/>
                  </a:lnTo>
                  <a:lnTo>
                    <a:pt x="108" y="351"/>
                  </a:lnTo>
                  <a:lnTo>
                    <a:pt x="120" y="357"/>
                  </a:lnTo>
                  <a:lnTo>
                    <a:pt x="132" y="362"/>
                  </a:lnTo>
                  <a:lnTo>
                    <a:pt x="144" y="365"/>
                  </a:lnTo>
                  <a:lnTo>
                    <a:pt x="156" y="367"/>
                  </a:lnTo>
                  <a:lnTo>
                    <a:pt x="168" y="367"/>
                  </a:lnTo>
                  <a:lnTo>
                    <a:pt x="181" y="367"/>
                  </a:lnTo>
                  <a:lnTo>
                    <a:pt x="194" y="364"/>
                  </a:lnTo>
                  <a:lnTo>
                    <a:pt x="207" y="360"/>
                  </a:lnTo>
                  <a:lnTo>
                    <a:pt x="219" y="353"/>
                  </a:lnTo>
                  <a:lnTo>
                    <a:pt x="229" y="346"/>
                  </a:lnTo>
                  <a:lnTo>
                    <a:pt x="240" y="336"/>
                  </a:lnTo>
                  <a:lnTo>
                    <a:pt x="250" y="325"/>
                  </a:lnTo>
                  <a:lnTo>
                    <a:pt x="261" y="311"/>
                  </a:lnTo>
                  <a:lnTo>
                    <a:pt x="269" y="296"/>
                  </a:lnTo>
                  <a:lnTo>
                    <a:pt x="278" y="280"/>
                  </a:lnTo>
                  <a:lnTo>
                    <a:pt x="278" y="280"/>
                  </a:lnTo>
                  <a:lnTo>
                    <a:pt x="285" y="257"/>
                  </a:lnTo>
                  <a:lnTo>
                    <a:pt x="290" y="235"/>
                  </a:lnTo>
                  <a:lnTo>
                    <a:pt x="294" y="210"/>
                  </a:lnTo>
                  <a:lnTo>
                    <a:pt x="295" y="188"/>
                  </a:lnTo>
                  <a:lnTo>
                    <a:pt x="294" y="163"/>
                  </a:lnTo>
                  <a:lnTo>
                    <a:pt x="292" y="139"/>
                  </a:lnTo>
                  <a:lnTo>
                    <a:pt x="288" y="117"/>
                  </a:lnTo>
                  <a:lnTo>
                    <a:pt x="283" y="94"/>
                  </a:lnTo>
                  <a:lnTo>
                    <a:pt x="283" y="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5">
              <a:extLst>
                <a:ext uri="{FF2B5EF4-FFF2-40B4-BE49-F238E27FC236}">
                  <a16:creationId xmlns:a16="http://schemas.microsoft.com/office/drawing/2014/main" id="{274821D8-E2F6-4DB7-9A5D-D56B45C80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4726" y="-1607624"/>
              <a:ext cx="158750" cy="225425"/>
            </a:xfrm>
            <a:custGeom>
              <a:avLst/>
              <a:gdLst>
                <a:gd name="T0" fmla="*/ 191 w 200"/>
                <a:gd name="T1" fmla="*/ 73 h 283"/>
                <a:gd name="T2" fmla="*/ 191 w 200"/>
                <a:gd name="T3" fmla="*/ 73 h 283"/>
                <a:gd name="T4" fmla="*/ 186 w 200"/>
                <a:gd name="T5" fmla="*/ 57 h 283"/>
                <a:gd name="T6" fmla="*/ 181 w 200"/>
                <a:gd name="T7" fmla="*/ 43 h 283"/>
                <a:gd name="T8" fmla="*/ 172 w 200"/>
                <a:gd name="T9" fmla="*/ 29 h 283"/>
                <a:gd name="T10" fmla="*/ 163 w 200"/>
                <a:gd name="T11" fmla="*/ 19 h 283"/>
                <a:gd name="T12" fmla="*/ 153 w 200"/>
                <a:gd name="T13" fmla="*/ 10 h 283"/>
                <a:gd name="T14" fmla="*/ 141 w 200"/>
                <a:gd name="T15" fmla="*/ 3 h 283"/>
                <a:gd name="T16" fmla="*/ 125 w 200"/>
                <a:gd name="T17" fmla="*/ 0 h 283"/>
                <a:gd name="T18" fmla="*/ 109 w 200"/>
                <a:gd name="T19" fmla="*/ 0 h 283"/>
                <a:gd name="T20" fmla="*/ 109 w 200"/>
                <a:gd name="T21" fmla="*/ 0 h 283"/>
                <a:gd name="T22" fmla="*/ 94 w 200"/>
                <a:gd name="T23" fmla="*/ 3 h 283"/>
                <a:gd name="T24" fmla="*/ 80 w 200"/>
                <a:gd name="T25" fmla="*/ 8 h 283"/>
                <a:gd name="T26" fmla="*/ 68 w 200"/>
                <a:gd name="T27" fmla="*/ 15 h 283"/>
                <a:gd name="T28" fmla="*/ 57 w 200"/>
                <a:gd name="T29" fmla="*/ 22 h 283"/>
                <a:gd name="T30" fmla="*/ 47 w 200"/>
                <a:gd name="T31" fmla="*/ 33 h 283"/>
                <a:gd name="T32" fmla="*/ 36 w 200"/>
                <a:gd name="T33" fmla="*/ 43 h 283"/>
                <a:gd name="T34" fmla="*/ 28 w 200"/>
                <a:gd name="T35" fmla="*/ 55 h 283"/>
                <a:gd name="T36" fmla="*/ 21 w 200"/>
                <a:gd name="T37" fmla="*/ 68 h 283"/>
                <a:gd name="T38" fmla="*/ 15 w 200"/>
                <a:gd name="T39" fmla="*/ 81 h 283"/>
                <a:gd name="T40" fmla="*/ 10 w 200"/>
                <a:gd name="T41" fmla="*/ 95 h 283"/>
                <a:gd name="T42" fmla="*/ 5 w 200"/>
                <a:gd name="T43" fmla="*/ 109 h 283"/>
                <a:gd name="T44" fmla="*/ 2 w 200"/>
                <a:gd name="T45" fmla="*/ 125 h 283"/>
                <a:gd name="T46" fmla="*/ 0 w 200"/>
                <a:gd name="T47" fmla="*/ 155 h 283"/>
                <a:gd name="T48" fmla="*/ 0 w 200"/>
                <a:gd name="T49" fmla="*/ 168 h 283"/>
                <a:gd name="T50" fmla="*/ 0 w 200"/>
                <a:gd name="T51" fmla="*/ 182 h 283"/>
                <a:gd name="T52" fmla="*/ 0 w 200"/>
                <a:gd name="T53" fmla="*/ 182 h 283"/>
                <a:gd name="T54" fmla="*/ 3 w 200"/>
                <a:gd name="T55" fmla="*/ 202 h 283"/>
                <a:gd name="T56" fmla="*/ 10 w 200"/>
                <a:gd name="T57" fmla="*/ 219 h 283"/>
                <a:gd name="T58" fmla="*/ 19 w 200"/>
                <a:gd name="T59" fmla="*/ 235 h 283"/>
                <a:gd name="T60" fmla="*/ 28 w 200"/>
                <a:gd name="T61" fmla="*/ 248 h 283"/>
                <a:gd name="T62" fmla="*/ 40 w 200"/>
                <a:gd name="T63" fmla="*/ 261 h 283"/>
                <a:gd name="T64" fmla="*/ 52 w 200"/>
                <a:gd name="T65" fmla="*/ 269 h 283"/>
                <a:gd name="T66" fmla="*/ 66 w 200"/>
                <a:gd name="T67" fmla="*/ 276 h 283"/>
                <a:gd name="T68" fmla="*/ 80 w 200"/>
                <a:gd name="T69" fmla="*/ 282 h 283"/>
                <a:gd name="T70" fmla="*/ 95 w 200"/>
                <a:gd name="T71" fmla="*/ 283 h 283"/>
                <a:gd name="T72" fmla="*/ 109 w 200"/>
                <a:gd name="T73" fmla="*/ 283 h 283"/>
                <a:gd name="T74" fmla="*/ 125 w 200"/>
                <a:gd name="T75" fmla="*/ 280 h 283"/>
                <a:gd name="T76" fmla="*/ 139 w 200"/>
                <a:gd name="T77" fmla="*/ 273 h 283"/>
                <a:gd name="T78" fmla="*/ 153 w 200"/>
                <a:gd name="T79" fmla="*/ 264 h 283"/>
                <a:gd name="T80" fmla="*/ 165 w 200"/>
                <a:gd name="T81" fmla="*/ 252 h 283"/>
                <a:gd name="T82" fmla="*/ 175 w 200"/>
                <a:gd name="T83" fmla="*/ 235 h 283"/>
                <a:gd name="T84" fmla="*/ 186 w 200"/>
                <a:gd name="T85" fmla="*/ 215 h 283"/>
                <a:gd name="T86" fmla="*/ 186 w 200"/>
                <a:gd name="T87" fmla="*/ 215 h 283"/>
                <a:gd name="T88" fmla="*/ 191 w 200"/>
                <a:gd name="T89" fmla="*/ 198 h 283"/>
                <a:gd name="T90" fmla="*/ 196 w 200"/>
                <a:gd name="T91" fmla="*/ 181 h 283"/>
                <a:gd name="T92" fmla="*/ 198 w 200"/>
                <a:gd name="T93" fmla="*/ 163 h 283"/>
                <a:gd name="T94" fmla="*/ 200 w 200"/>
                <a:gd name="T95" fmla="*/ 144 h 283"/>
                <a:gd name="T96" fmla="*/ 200 w 200"/>
                <a:gd name="T97" fmla="*/ 127 h 283"/>
                <a:gd name="T98" fmla="*/ 198 w 200"/>
                <a:gd name="T99" fmla="*/ 108 h 283"/>
                <a:gd name="T100" fmla="*/ 195 w 200"/>
                <a:gd name="T101" fmla="*/ 90 h 283"/>
                <a:gd name="T102" fmla="*/ 191 w 200"/>
                <a:gd name="T103" fmla="*/ 73 h 283"/>
                <a:gd name="T104" fmla="*/ 191 w 200"/>
                <a:gd name="T105" fmla="*/ 7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0" h="283">
                  <a:moveTo>
                    <a:pt x="191" y="73"/>
                  </a:moveTo>
                  <a:lnTo>
                    <a:pt x="191" y="73"/>
                  </a:lnTo>
                  <a:lnTo>
                    <a:pt x="186" y="57"/>
                  </a:lnTo>
                  <a:lnTo>
                    <a:pt x="181" y="43"/>
                  </a:lnTo>
                  <a:lnTo>
                    <a:pt x="172" y="29"/>
                  </a:lnTo>
                  <a:lnTo>
                    <a:pt x="163" y="19"/>
                  </a:lnTo>
                  <a:lnTo>
                    <a:pt x="153" y="10"/>
                  </a:lnTo>
                  <a:lnTo>
                    <a:pt x="141" y="3"/>
                  </a:lnTo>
                  <a:lnTo>
                    <a:pt x="125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94" y="3"/>
                  </a:lnTo>
                  <a:lnTo>
                    <a:pt x="80" y="8"/>
                  </a:lnTo>
                  <a:lnTo>
                    <a:pt x="68" y="15"/>
                  </a:lnTo>
                  <a:lnTo>
                    <a:pt x="57" y="22"/>
                  </a:lnTo>
                  <a:lnTo>
                    <a:pt x="47" y="33"/>
                  </a:lnTo>
                  <a:lnTo>
                    <a:pt x="36" y="43"/>
                  </a:lnTo>
                  <a:lnTo>
                    <a:pt x="28" y="55"/>
                  </a:lnTo>
                  <a:lnTo>
                    <a:pt x="21" y="68"/>
                  </a:lnTo>
                  <a:lnTo>
                    <a:pt x="15" y="81"/>
                  </a:lnTo>
                  <a:lnTo>
                    <a:pt x="10" y="95"/>
                  </a:lnTo>
                  <a:lnTo>
                    <a:pt x="5" y="109"/>
                  </a:lnTo>
                  <a:lnTo>
                    <a:pt x="2" y="125"/>
                  </a:lnTo>
                  <a:lnTo>
                    <a:pt x="0" y="155"/>
                  </a:lnTo>
                  <a:lnTo>
                    <a:pt x="0" y="168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3" y="202"/>
                  </a:lnTo>
                  <a:lnTo>
                    <a:pt x="10" y="219"/>
                  </a:lnTo>
                  <a:lnTo>
                    <a:pt x="19" y="235"/>
                  </a:lnTo>
                  <a:lnTo>
                    <a:pt x="28" y="248"/>
                  </a:lnTo>
                  <a:lnTo>
                    <a:pt x="40" y="261"/>
                  </a:lnTo>
                  <a:lnTo>
                    <a:pt x="52" y="269"/>
                  </a:lnTo>
                  <a:lnTo>
                    <a:pt x="66" y="276"/>
                  </a:lnTo>
                  <a:lnTo>
                    <a:pt x="80" y="282"/>
                  </a:lnTo>
                  <a:lnTo>
                    <a:pt x="95" y="283"/>
                  </a:lnTo>
                  <a:lnTo>
                    <a:pt x="109" y="283"/>
                  </a:lnTo>
                  <a:lnTo>
                    <a:pt x="125" y="280"/>
                  </a:lnTo>
                  <a:lnTo>
                    <a:pt x="139" y="273"/>
                  </a:lnTo>
                  <a:lnTo>
                    <a:pt x="153" y="264"/>
                  </a:lnTo>
                  <a:lnTo>
                    <a:pt x="165" y="252"/>
                  </a:lnTo>
                  <a:lnTo>
                    <a:pt x="175" y="23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91" y="198"/>
                  </a:lnTo>
                  <a:lnTo>
                    <a:pt x="196" y="181"/>
                  </a:lnTo>
                  <a:lnTo>
                    <a:pt x="198" y="163"/>
                  </a:lnTo>
                  <a:lnTo>
                    <a:pt x="200" y="144"/>
                  </a:lnTo>
                  <a:lnTo>
                    <a:pt x="200" y="127"/>
                  </a:lnTo>
                  <a:lnTo>
                    <a:pt x="198" y="108"/>
                  </a:lnTo>
                  <a:lnTo>
                    <a:pt x="195" y="90"/>
                  </a:lnTo>
                  <a:lnTo>
                    <a:pt x="191" y="73"/>
                  </a:lnTo>
                  <a:lnTo>
                    <a:pt x="191" y="73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6">
              <a:extLst>
                <a:ext uri="{FF2B5EF4-FFF2-40B4-BE49-F238E27FC236}">
                  <a16:creationId xmlns:a16="http://schemas.microsoft.com/office/drawing/2014/main" id="{F4F863BF-4B8C-4CFB-84D1-A2A03100C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8063" y="-1607624"/>
              <a:ext cx="125412" cy="209550"/>
            </a:xfrm>
            <a:custGeom>
              <a:avLst/>
              <a:gdLst>
                <a:gd name="T0" fmla="*/ 149 w 158"/>
                <a:gd name="T1" fmla="*/ 73 h 264"/>
                <a:gd name="T2" fmla="*/ 149 w 158"/>
                <a:gd name="T3" fmla="*/ 73 h 264"/>
                <a:gd name="T4" fmla="*/ 144 w 158"/>
                <a:gd name="T5" fmla="*/ 57 h 264"/>
                <a:gd name="T6" fmla="*/ 139 w 158"/>
                <a:gd name="T7" fmla="*/ 43 h 264"/>
                <a:gd name="T8" fmla="*/ 130 w 158"/>
                <a:gd name="T9" fmla="*/ 29 h 264"/>
                <a:gd name="T10" fmla="*/ 121 w 158"/>
                <a:gd name="T11" fmla="*/ 19 h 264"/>
                <a:gd name="T12" fmla="*/ 111 w 158"/>
                <a:gd name="T13" fmla="*/ 10 h 264"/>
                <a:gd name="T14" fmla="*/ 99 w 158"/>
                <a:gd name="T15" fmla="*/ 3 h 264"/>
                <a:gd name="T16" fmla="*/ 83 w 158"/>
                <a:gd name="T17" fmla="*/ 0 h 264"/>
                <a:gd name="T18" fmla="*/ 67 w 158"/>
                <a:gd name="T19" fmla="*/ 0 h 264"/>
                <a:gd name="T20" fmla="*/ 67 w 158"/>
                <a:gd name="T21" fmla="*/ 0 h 264"/>
                <a:gd name="T22" fmla="*/ 57 w 158"/>
                <a:gd name="T23" fmla="*/ 1 h 264"/>
                <a:gd name="T24" fmla="*/ 47 w 158"/>
                <a:gd name="T25" fmla="*/ 5 h 264"/>
                <a:gd name="T26" fmla="*/ 29 w 158"/>
                <a:gd name="T27" fmla="*/ 14 h 264"/>
                <a:gd name="T28" fmla="*/ 13 w 158"/>
                <a:gd name="T29" fmla="*/ 24 h 264"/>
                <a:gd name="T30" fmla="*/ 0 w 158"/>
                <a:gd name="T31" fmla="*/ 38 h 264"/>
                <a:gd name="T32" fmla="*/ 0 w 158"/>
                <a:gd name="T33" fmla="*/ 38 h 264"/>
                <a:gd name="T34" fmla="*/ 12 w 158"/>
                <a:gd name="T35" fmla="*/ 29 h 264"/>
                <a:gd name="T36" fmla="*/ 24 w 158"/>
                <a:gd name="T37" fmla="*/ 21 h 264"/>
                <a:gd name="T38" fmla="*/ 40 w 158"/>
                <a:gd name="T39" fmla="*/ 15 h 264"/>
                <a:gd name="T40" fmla="*/ 55 w 158"/>
                <a:gd name="T41" fmla="*/ 12 h 264"/>
                <a:gd name="T42" fmla="*/ 55 w 158"/>
                <a:gd name="T43" fmla="*/ 12 h 264"/>
                <a:gd name="T44" fmla="*/ 71 w 158"/>
                <a:gd name="T45" fmla="*/ 12 h 264"/>
                <a:gd name="T46" fmla="*/ 86 w 158"/>
                <a:gd name="T47" fmla="*/ 15 h 264"/>
                <a:gd name="T48" fmla="*/ 99 w 158"/>
                <a:gd name="T49" fmla="*/ 21 h 264"/>
                <a:gd name="T50" fmla="*/ 109 w 158"/>
                <a:gd name="T51" fmla="*/ 31 h 264"/>
                <a:gd name="T52" fmla="*/ 118 w 158"/>
                <a:gd name="T53" fmla="*/ 41 h 264"/>
                <a:gd name="T54" fmla="*/ 126 w 158"/>
                <a:gd name="T55" fmla="*/ 55 h 264"/>
                <a:gd name="T56" fmla="*/ 132 w 158"/>
                <a:gd name="T57" fmla="*/ 69 h 264"/>
                <a:gd name="T58" fmla="*/ 137 w 158"/>
                <a:gd name="T59" fmla="*/ 85 h 264"/>
                <a:gd name="T60" fmla="*/ 137 w 158"/>
                <a:gd name="T61" fmla="*/ 85 h 264"/>
                <a:gd name="T62" fmla="*/ 140 w 158"/>
                <a:gd name="T63" fmla="*/ 102 h 264"/>
                <a:gd name="T64" fmla="*/ 144 w 158"/>
                <a:gd name="T65" fmla="*/ 120 h 264"/>
                <a:gd name="T66" fmla="*/ 146 w 158"/>
                <a:gd name="T67" fmla="*/ 139 h 264"/>
                <a:gd name="T68" fmla="*/ 146 w 158"/>
                <a:gd name="T69" fmla="*/ 156 h 264"/>
                <a:gd name="T70" fmla="*/ 144 w 158"/>
                <a:gd name="T71" fmla="*/ 175 h 264"/>
                <a:gd name="T72" fmla="*/ 142 w 158"/>
                <a:gd name="T73" fmla="*/ 193 h 264"/>
                <a:gd name="T74" fmla="*/ 137 w 158"/>
                <a:gd name="T75" fmla="*/ 210 h 264"/>
                <a:gd name="T76" fmla="*/ 132 w 158"/>
                <a:gd name="T77" fmla="*/ 228 h 264"/>
                <a:gd name="T78" fmla="*/ 132 w 158"/>
                <a:gd name="T79" fmla="*/ 228 h 264"/>
                <a:gd name="T80" fmla="*/ 121 w 158"/>
                <a:gd name="T81" fmla="*/ 248 h 264"/>
                <a:gd name="T82" fmla="*/ 109 w 158"/>
                <a:gd name="T83" fmla="*/ 264 h 264"/>
                <a:gd name="T84" fmla="*/ 109 w 158"/>
                <a:gd name="T85" fmla="*/ 264 h 264"/>
                <a:gd name="T86" fmla="*/ 120 w 158"/>
                <a:gd name="T87" fmla="*/ 255 h 264"/>
                <a:gd name="T88" fmla="*/ 128 w 158"/>
                <a:gd name="T89" fmla="*/ 243 h 264"/>
                <a:gd name="T90" fmla="*/ 137 w 158"/>
                <a:gd name="T91" fmla="*/ 231 h 264"/>
                <a:gd name="T92" fmla="*/ 144 w 158"/>
                <a:gd name="T93" fmla="*/ 215 h 264"/>
                <a:gd name="T94" fmla="*/ 144 w 158"/>
                <a:gd name="T95" fmla="*/ 215 h 264"/>
                <a:gd name="T96" fmla="*/ 149 w 158"/>
                <a:gd name="T97" fmla="*/ 198 h 264"/>
                <a:gd name="T98" fmla="*/ 154 w 158"/>
                <a:gd name="T99" fmla="*/ 181 h 264"/>
                <a:gd name="T100" fmla="*/ 156 w 158"/>
                <a:gd name="T101" fmla="*/ 163 h 264"/>
                <a:gd name="T102" fmla="*/ 158 w 158"/>
                <a:gd name="T103" fmla="*/ 144 h 264"/>
                <a:gd name="T104" fmla="*/ 158 w 158"/>
                <a:gd name="T105" fmla="*/ 127 h 264"/>
                <a:gd name="T106" fmla="*/ 156 w 158"/>
                <a:gd name="T107" fmla="*/ 108 h 264"/>
                <a:gd name="T108" fmla="*/ 153 w 158"/>
                <a:gd name="T109" fmla="*/ 90 h 264"/>
                <a:gd name="T110" fmla="*/ 149 w 158"/>
                <a:gd name="T111" fmla="*/ 73 h 264"/>
                <a:gd name="T112" fmla="*/ 149 w 158"/>
                <a:gd name="T113" fmla="*/ 7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" h="264">
                  <a:moveTo>
                    <a:pt x="149" y="73"/>
                  </a:moveTo>
                  <a:lnTo>
                    <a:pt x="149" y="73"/>
                  </a:lnTo>
                  <a:lnTo>
                    <a:pt x="144" y="57"/>
                  </a:lnTo>
                  <a:lnTo>
                    <a:pt x="139" y="43"/>
                  </a:lnTo>
                  <a:lnTo>
                    <a:pt x="130" y="29"/>
                  </a:lnTo>
                  <a:lnTo>
                    <a:pt x="121" y="19"/>
                  </a:lnTo>
                  <a:lnTo>
                    <a:pt x="111" y="10"/>
                  </a:lnTo>
                  <a:lnTo>
                    <a:pt x="99" y="3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57" y="1"/>
                  </a:lnTo>
                  <a:lnTo>
                    <a:pt x="47" y="5"/>
                  </a:lnTo>
                  <a:lnTo>
                    <a:pt x="29" y="14"/>
                  </a:lnTo>
                  <a:lnTo>
                    <a:pt x="13" y="24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2" y="29"/>
                  </a:lnTo>
                  <a:lnTo>
                    <a:pt x="24" y="21"/>
                  </a:lnTo>
                  <a:lnTo>
                    <a:pt x="40" y="15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71" y="12"/>
                  </a:lnTo>
                  <a:lnTo>
                    <a:pt x="86" y="15"/>
                  </a:lnTo>
                  <a:lnTo>
                    <a:pt x="99" y="21"/>
                  </a:lnTo>
                  <a:lnTo>
                    <a:pt x="109" y="31"/>
                  </a:lnTo>
                  <a:lnTo>
                    <a:pt x="118" y="41"/>
                  </a:lnTo>
                  <a:lnTo>
                    <a:pt x="126" y="55"/>
                  </a:lnTo>
                  <a:lnTo>
                    <a:pt x="132" y="69"/>
                  </a:lnTo>
                  <a:lnTo>
                    <a:pt x="137" y="85"/>
                  </a:lnTo>
                  <a:lnTo>
                    <a:pt x="137" y="85"/>
                  </a:lnTo>
                  <a:lnTo>
                    <a:pt x="140" y="102"/>
                  </a:lnTo>
                  <a:lnTo>
                    <a:pt x="144" y="120"/>
                  </a:lnTo>
                  <a:lnTo>
                    <a:pt x="146" y="139"/>
                  </a:lnTo>
                  <a:lnTo>
                    <a:pt x="146" y="156"/>
                  </a:lnTo>
                  <a:lnTo>
                    <a:pt x="144" y="175"/>
                  </a:lnTo>
                  <a:lnTo>
                    <a:pt x="142" y="193"/>
                  </a:lnTo>
                  <a:lnTo>
                    <a:pt x="137" y="210"/>
                  </a:lnTo>
                  <a:lnTo>
                    <a:pt x="132" y="228"/>
                  </a:lnTo>
                  <a:lnTo>
                    <a:pt x="132" y="228"/>
                  </a:lnTo>
                  <a:lnTo>
                    <a:pt x="121" y="248"/>
                  </a:lnTo>
                  <a:lnTo>
                    <a:pt x="109" y="264"/>
                  </a:lnTo>
                  <a:lnTo>
                    <a:pt x="109" y="264"/>
                  </a:lnTo>
                  <a:lnTo>
                    <a:pt x="120" y="255"/>
                  </a:lnTo>
                  <a:lnTo>
                    <a:pt x="128" y="243"/>
                  </a:lnTo>
                  <a:lnTo>
                    <a:pt x="137" y="231"/>
                  </a:lnTo>
                  <a:lnTo>
                    <a:pt x="144" y="215"/>
                  </a:lnTo>
                  <a:lnTo>
                    <a:pt x="144" y="215"/>
                  </a:lnTo>
                  <a:lnTo>
                    <a:pt x="149" y="198"/>
                  </a:lnTo>
                  <a:lnTo>
                    <a:pt x="154" y="181"/>
                  </a:lnTo>
                  <a:lnTo>
                    <a:pt x="156" y="163"/>
                  </a:lnTo>
                  <a:lnTo>
                    <a:pt x="158" y="144"/>
                  </a:lnTo>
                  <a:lnTo>
                    <a:pt x="158" y="127"/>
                  </a:lnTo>
                  <a:lnTo>
                    <a:pt x="156" y="108"/>
                  </a:lnTo>
                  <a:lnTo>
                    <a:pt x="153" y="90"/>
                  </a:lnTo>
                  <a:lnTo>
                    <a:pt x="149" y="73"/>
                  </a:lnTo>
                  <a:lnTo>
                    <a:pt x="149" y="73"/>
                  </a:lnTo>
                  <a:close/>
                </a:path>
              </a:pathLst>
            </a:custGeom>
            <a:solidFill>
              <a:srgbClr val="EDA9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7">
              <a:extLst>
                <a:ext uri="{FF2B5EF4-FFF2-40B4-BE49-F238E27FC236}">
                  <a16:creationId xmlns:a16="http://schemas.microsoft.com/office/drawing/2014/main" id="{47D2730D-24D7-4881-9605-ECD752991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1238" y="-1572699"/>
              <a:ext cx="80962" cy="153987"/>
            </a:xfrm>
            <a:custGeom>
              <a:avLst/>
              <a:gdLst>
                <a:gd name="T0" fmla="*/ 62 w 101"/>
                <a:gd name="T1" fmla="*/ 89 h 195"/>
                <a:gd name="T2" fmla="*/ 42 w 101"/>
                <a:gd name="T3" fmla="*/ 78 h 195"/>
                <a:gd name="T4" fmla="*/ 29 w 101"/>
                <a:gd name="T5" fmla="*/ 70 h 195"/>
                <a:gd name="T6" fmla="*/ 24 w 101"/>
                <a:gd name="T7" fmla="*/ 56 h 195"/>
                <a:gd name="T8" fmla="*/ 24 w 101"/>
                <a:gd name="T9" fmla="*/ 45 h 195"/>
                <a:gd name="T10" fmla="*/ 29 w 101"/>
                <a:gd name="T11" fmla="*/ 30 h 195"/>
                <a:gd name="T12" fmla="*/ 33 w 101"/>
                <a:gd name="T13" fmla="*/ 25 h 195"/>
                <a:gd name="T14" fmla="*/ 42 w 101"/>
                <a:gd name="T15" fmla="*/ 18 h 195"/>
                <a:gd name="T16" fmla="*/ 54 w 101"/>
                <a:gd name="T17" fmla="*/ 18 h 195"/>
                <a:gd name="T18" fmla="*/ 59 w 101"/>
                <a:gd name="T19" fmla="*/ 21 h 195"/>
                <a:gd name="T20" fmla="*/ 64 w 101"/>
                <a:gd name="T21" fmla="*/ 32 h 195"/>
                <a:gd name="T22" fmla="*/ 62 w 101"/>
                <a:gd name="T23" fmla="*/ 37 h 195"/>
                <a:gd name="T24" fmla="*/ 88 w 101"/>
                <a:gd name="T25" fmla="*/ 37 h 195"/>
                <a:gd name="T26" fmla="*/ 87 w 101"/>
                <a:gd name="T27" fmla="*/ 28 h 195"/>
                <a:gd name="T28" fmla="*/ 85 w 101"/>
                <a:gd name="T29" fmla="*/ 18 h 195"/>
                <a:gd name="T30" fmla="*/ 71 w 101"/>
                <a:gd name="T31" fmla="*/ 4 h 195"/>
                <a:gd name="T32" fmla="*/ 61 w 101"/>
                <a:gd name="T33" fmla="*/ 0 h 195"/>
                <a:gd name="T34" fmla="*/ 42 w 101"/>
                <a:gd name="T35" fmla="*/ 0 h 195"/>
                <a:gd name="T36" fmla="*/ 31 w 101"/>
                <a:gd name="T37" fmla="*/ 5 h 195"/>
                <a:gd name="T38" fmla="*/ 17 w 101"/>
                <a:gd name="T39" fmla="*/ 16 h 195"/>
                <a:gd name="T40" fmla="*/ 7 w 101"/>
                <a:gd name="T41" fmla="*/ 33 h 195"/>
                <a:gd name="T42" fmla="*/ 2 w 101"/>
                <a:gd name="T43" fmla="*/ 52 h 195"/>
                <a:gd name="T44" fmla="*/ 2 w 101"/>
                <a:gd name="T45" fmla="*/ 70 h 195"/>
                <a:gd name="T46" fmla="*/ 3 w 101"/>
                <a:gd name="T47" fmla="*/ 78 h 195"/>
                <a:gd name="T48" fmla="*/ 14 w 101"/>
                <a:gd name="T49" fmla="*/ 94 h 195"/>
                <a:gd name="T50" fmla="*/ 21 w 101"/>
                <a:gd name="T51" fmla="*/ 99 h 195"/>
                <a:gd name="T52" fmla="*/ 52 w 101"/>
                <a:gd name="T53" fmla="*/ 113 h 195"/>
                <a:gd name="T54" fmla="*/ 59 w 101"/>
                <a:gd name="T55" fmla="*/ 117 h 195"/>
                <a:gd name="T56" fmla="*/ 71 w 101"/>
                <a:gd name="T57" fmla="*/ 127 h 195"/>
                <a:gd name="T58" fmla="*/ 75 w 101"/>
                <a:gd name="T59" fmla="*/ 134 h 195"/>
                <a:gd name="T60" fmla="*/ 76 w 101"/>
                <a:gd name="T61" fmla="*/ 150 h 195"/>
                <a:gd name="T62" fmla="*/ 68 w 101"/>
                <a:gd name="T63" fmla="*/ 165 h 195"/>
                <a:gd name="T64" fmla="*/ 64 w 101"/>
                <a:gd name="T65" fmla="*/ 169 h 195"/>
                <a:gd name="T66" fmla="*/ 54 w 101"/>
                <a:gd name="T67" fmla="*/ 171 h 195"/>
                <a:gd name="T68" fmla="*/ 48 w 101"/>
                <a:gd name="T69" fmla="*/ 171 h 195"/>
                <a:gd name="T70" fmla="*/ 40 w 101"/>
                <a:gd name="T71" fmla="*/ 164 h 195"/>
                <a:gd name="T72" fmla="*/ 36 w 101"/>
                <a:gd name="T73" fmla="*/ 153 h 195"/>
                <a:gd name="T74" fmla="*/ 22 w 101"/>
                <a:gd name="T75" fmla="*/ 155 h 195"/>
                <a:gd name="T76" fmla="*/ 8 w 101"/>
                <a:gd name="T77" fmla="*/ 160 h 195"/>
                <a:gd name="T78" fmla="*/ 12 w 101"/>
                <a:gd name="T79" fmla="*/ 178 h 195"/>
                <a:gd name="T80" fmla="*/ 21 w 101"/>
                <a:gd name="T81" fmla="*/ 188 h 195"/>
                <a:gd name="T82" fmla="*/ 33 w 101"/>
                <a:gd name="T83" fmla="*/ 193 h 195"/>
                <a:gd name="T84" fmla="*/ 48 w 101"/>
                <a:gd name="T85" fmla="*/ 195 h 195"/>
                <a:gd name="T86" fmla="*/ 68 w 101"/>
                <a:gd name="T87" fmla="*/ 192 h 195"/>
                <a:gd name="T88" fmla="*/ 83 w 101"/>
                <a:gd name="T89" fmla="*/ 181 h 195"/>
                <a:gd name="T90" fmla="*/ 95 w 101"/>
                <a:gd name="T91" fmla="*/ 165 h 195"/>
                <a:gd name="T92" fmla="*/ 101 w 101"/>
                <a:gd name="T93" fmla="*/ 148 h 195"/>
                <a:gd name="T94" fmla="*/ 101 w 101"/>
                <a:gd name="T95" fmla="*/ 138 h 195"/>
                <a:gd name="T96" fmla="*/ 95 w 101"/>
                <a:gd name="T97" fmla="*/ 120 h 195"/>
                <a:gd name="T98" fmla="*/ 87 w 101"/>
                <a:gd name="T99" fmla="*/ 105 h 195"/>
                <a:gd name="T100" fmla="*/ 71 w 101"/>
                <a:gd name="T101" fmla="*/ 94 h 195"/>
                <a:gd name="T102" fmla="*/ 62 w 101"/>
                <a:gd name="T103" fmla="*/ 8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1" h="195">
                  <a:moveTo>
                    <a:pt x="62" y="89"/>
                  </a:moveTo>
                  <a:lnTo>
                    <a:pt x="62" y="89"/>
                  </a:lnTo>
                  <a:lnTo>
                    <a:pt x="48" y="82"/>
                  </a:lnTo>
                  <a:lnTo>
                    <a:pt x="42" y="78"/>
                  </a:lnTo>
                  <a:lnTo>
                    <a:pt x="35" y="75"/>
                  </a:lnTo>
                  <a:lnTo>
                    <a:pt x="29" y="70"/>
                  </a:lnTo>
                  <a:lnTo>
                    <a:pt x="26" y="63"/>
                  </a:lnTo>
                  <a:lnTo>
                    <a:pt x="24" y="56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6" y="35"/>
                  </a:lnTo>
                  <a:lnTo>
                    <a:pt x="29" y="30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6" y="21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9" y="21"/>
                  </a:lnTo>
                  <a:lnTo>
                    <a:pt x="62" y="26"/>
                  </a:lnTo>
                  <a:lnTo>
                    <a:pt x="64" y="32"/>
                  </a:lnTo>
                  <a:lnTo>
                    <a:pt x="62" y="37"/>
                  </a:lnTo>
                  <a:lnTo>
                    <a:pt x="62" y="37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8" y="35"/>
                  </a:lnTo>
                  <a:lnTo>
                    <a:pt x="87" y="2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78" y="11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61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24" y="9"/>
                  </a:lnTo>
                  <a:lnTo>
                    <a:pt x="17" y="16"/>
                  </a:lnTo>
                  <a:lnTo>
                    <a:pt x="12" y="25"/>
                  </a:lnTo>
                  <a:lnTo>
                    <a:pt x="7" y="33"/>
                  </a:lnTo>
                  <a:lnTo>
                    <a:pt x="3" y="42"/>
                  </a:lnTo>
                  <a:lnTo>
                    <a:pt x="2" y="52"/>
                  </a:lnTo>
                  <a:lnTo>
                    <a:pt x="0" y="61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3" y="78"/>
                  </a:lnTo>
                  <a:lnTo>
                    <a:pt x="8" y="87"/>
                  </a:lnTo>
                  <a:lnTo>
                    <a:pt x="14" y="94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36" y="106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9" y="117"/>
                  </a:lnTo>
                  <a:lnTo>
                    <a:pt x="66" y="122"/>
                  </a:lnTo>
                  <a:lnTo>
                    <a:pt x="71" y="127"/>
                  </a:lnTo>
                  <a:lnTo>
                    <a:pt x="75" y="134"/>
                  </a:lnTo>
                  <a:lnTo>
                    <a:pt x="75" y="134"/>
                  </a:lnTo>
                  <a:lnTo>
                    <a:pt x="76" y="143"/>
                  </a:lnTo>
                  <a:lnTo>
                    <a:pt x="76" y="150"/>
                  </a:lnTo>
                  <a:lnTo>
                    <a:pt x="73" y="159"/>
                  </a:lnTo>
                  <a:lnTo>
                    <a:pt x="68" y="165"/>
                  </a:lnTo>
                  <a:lnTo>
                    <a:pt x="68" y="165"/>
                  </a:lnTo>
                  <a:lnTo>
                    <a:pt x="64" y="169"/>
                  </a:lnTo>
                  <a:lnTo>
                    <a:pt x="59" y="171"/>
                  </a:lnTo>
                  <a:lnTo>
                    <a:pt x="54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3" y="167"/>
                  </a:lnTo>
                  <a:lnTo>
                    <a:pt x="40" y="164"/>
                  </a:lnTo>
                  <a:lnTo>
                    <a:pt x="36" y="159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22" y="155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0" y="171"/>
                  </a:lnTo>
                  <a:lnTo>
                    <a:pt x="12" y="178"/>
                  </a:lnTo>
                  <a:lnTo>
                    <a:pt x="15" y="183"/>
                  </a:lnTo>
                  <a:lnTo>
                    <a:pt x="21" y="188"/>
                  </a:lnTo>
                  <a:lnTo>
                    <a:pt x="26" y="192"/>
                  </a:lnTo>
                  <a:lnTo>
                    <a:pt x="33" y="193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59" y="193"/>
                  </a:lnTo>
                  <a:lnTo>
                    <a:pt x="68" y="192"/>
                  </a:lnTo>
                  <a:lnTo>
                    <a:pt x="76" y="186"/>
                  </a:lnTo>
                  <a:lnTo>
                    <a:pt x="83" y="181"/>
                  </a:lnTo>
                  <a:lnTo>
                    <a:pt x="90" y="174"/>
                  </a:lnTo>
                  <a:lnTo>
                    <a:pt x="95" y="165"/>
                  </a:lnTo>
                  <a:lnTo>
                    <a:pt x="99" y="157"/>
                  </a:lnTo>
                  <a:lnTo>
                    <a:pt x="101" y="148"/>
                  </a:lnTo>
                  <a:lnTo>
                    <a:pt x="101" y="148"/>
                  </a:lnTo>
                  <a:lnTo>
                    <a:pt x="101" y="138"/>
                  </a:lnTo>
                  <a:lnTo>
                    <a:pt x="99" y="129"/>
                  </a:lnTo>
                  <a:lnTo>
                    <a:pt x="95" y="120"/>
                  </a:lnTo>
                  <a:lnTo>
                    <a:pt x="92" y="112"/>
                  </a:lnTo>
                  <a:lnTo>
                    <a:pt x="87" y="105"/>
                  </a:lnTo>
                  <a:lnTo>
                    <a:pt x="80" y="99"/>
                  </a:lnTo>
                  <a:lnTo>
                    <a:pt x="71" y="94"/>
                  </a:lnTo>
                  <a:lnTo>
                    <a:pt x="62" y="89"/>
                  </a:lnTo>
                  <a:lnTo>
                    <a:pt x="62" y="8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14857AF9-DE68-45F2-BF9E-CF4BCA659FB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723738" y="4417878"/>
            <a:ext cx="296857" cy="461941"/>
          </a:xfrm>
          <a:prstGeom prst="rect">
            <a:avLst/>
          </a:prstGeom>
          <a:solidFill>
            <a:schemeClr val="bg2"/>
          </a:solidFill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BF7D4C3B-24A9-42D7-8B41-5BB4B97F0789}"/>
              </a:ext>
            </a:extLst>
          </p:cNvPr>
          <p:cNvGrpSpPr/>
          <p:nvPr/>
        </p:nvGrpSpPr>
        <p:grpSpPr>
          <a:xfrm>
            <a:off x="5667555" y="3200707"/>
            <a:ext cx="500453" cy="411816"/>
            <a:chOff x="1234521" y="1503493"/>
            <a:chExt cx="3981927" cy="3566878"/>
          </a:xfrm>
        </p:grpSpPr>
        <p:sp>
          <p:nvSpPr>
            <p:cNvPr id="105" name="Forme libre 13">
              <a:extLst>
                <a:ext uri="{FF2B5EF4-FFF2-40B4-BE49-F238E27FC236}">
                  <a16:creationId xmlns:a16="http://schemas.microsoft.com/office/drawing/2014/main" id="{9D4D9FD4-8A63-4405-AD6E-6F6D4C82760B}"/>
                </a:ext>
              </a:extLst>
            </p:cNvPr>
            <p:cNvSpPr/>
            <p:nvPr/>
          </p:nvSpPr>
          <p:spPr>
            <a:xfrm>
              <a:off x="1522351" y="2897572"/>
              <a:ext cx="1862672" cy="2172799"/>
            </a:xfrm>
            <a:custGeom>
              <a:avLst/>
              <a:gdLst>
                <a:gd name="connsiteX0" fmla="*/ 540060 w 1080120"/>
                <a:gd name="connsiteY0" fmla="*/ 0 h 1483478"/>
                <a:gd name="connsiteX1" fmla="*/ 731727 w 1080120"/>
                <a:gd name="connsiteY1" fmla="*/ 180020 h 1483478"/>
                <a:gd name="connsiteX2" fmla="*/ 675589 w 1080120"/>
                <a:gd name="connsiteY2" fmla="*/ 307313 h 1483478"/>
                <a:gd name="connsiteX3" fmla="*/ 648072 w 1080120"/>
                <a:gd name="connsiteY3" fmla="*/ 324739 h 1483478"/>
                <a:gd name="connsiteX4" fmla="*/ 648072 w 1080120"/>
                <a:gd name="connsiteY4" fmla="*/ 403358 h 1483478"/>
                <a:gd name="connsiteX5" fmla="*/ 1080120 w 1080120"/>
                <a:gd name="connsiteY5" fmla="*/ 403358 h 1483478"/>
                <a:gd name="connsiteX6" fmla="*/ 1080120 w 1080120"/>
                <a:gd name="connsiteY6" fmla="*/ 835407 h 1483478"/>
                <a:gd name="connsiteX7" fmla="*/ 971550 w 1080120"/>
                <a:gd name="connsiteY7" fmla="*/ 835407 h 1483478"/>
                <a:gd name="connsiteX8" fmla="*/ 954124 w 1080120"/>
                <a:gd name="connsiteY8" fmla="*/ 807890 h 1483478"/>
                <a:gd name="connsiteX9" fmla="*/ 826831 w 1080120"/>
                <a:gd name="connsiteY9" fmla="*/ 751752 h 1483478"/>
                <a:gd name="connsiteX10" fmla="*/ 646811 w 1080120"/>
                <a:gd name="connsiteY10" fmla="*/ 943419 h 1483478"/>
                <a:gd name="connsiteX11" fmla="*/ 826831 w 1080120"/>
                <a:gd name="connsiteY11" fmla="*/ 1135086 h 1483478"/>
                <a:gd name="connsiteX12" fmla="*/ 954124 w 1080120"/>
                <a:gd name="connsiteY12" fmla="*/ 1078948 h 1483478"/>
                <a:gd name="connsiteX13" fmla="*/ 971550 w 1080120"/>
                <a:gd name="connsiteY13" fmla="*/ 1051431 h 1483478"/>
                <a:gd name="connsiteX14" fmla="*/ 1080120 w 1080120"/>
                <a:gd name="connsiteY14" fmla="*/ 1051431 h 1483478"/>
                <a:gd name="connsiteX15" fmla="*/ 1080120 w 1080120"/>
                <a:gd name="connsiteY15" fmla="*/ 1483478 h 1483478"/>
                <a:gd name="connsiteX16" fmla="*/ 0 w 1080120"/>
                <a:gd name="connsiteY16" fmla="*/ 1483478 h 1483478"/>
                <a:gd name="connsiteX17" fmla="*/ 0 w 1080120"/>
                <a:gd name="connsiteY17" fmla="*/ 403358 h 1483478"/>
                <a:gd name="connsiteX18" fmla="*/ 432048 w 1080120"/>
                <a:gd name="connsiteY18" fmla="*/ 403358 h 1483478"/>
                <a:gd name="connsiteX19" fmla="*/ 432048 w 1080120"/>
                <a:gd name="connsiteY19" fmla="*/ 324739 h 1483478"/>
                <a:gd name="connsiteX20" fmla="*/ 404531 w 1080120"/>
                <a:gd name="connsiteY20" fmla="*/ 307313 h 1483478"/>
                <a:gd name="connsiteX21" fmla="*/ 348393 w 1080120"/>
                <a:gd name="connsiteY21" fmla="*/ 180020 h 1483478"/>
                <a:gd name="connsiteX22" fmla="*/ 540060 w 1080120"/>
                <a:gd name="connsiteY22" fmla="*/ 0 h 148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80120" h="1483478">
                  <a:moveTo>
                    <a:pt x="540060" y="0"/>
                  </a:moveTo>
                  <a:cubicBezTo>
                    <a:pt x="645915" y="0"/>
                    <a:pt x="731727" y="80598"/>
                    <a:pt x="731727" y="180020"/>
                  </a:cubicBezTo>
                  <a:cubicBezTo>
                    <a:pt x="731727" y="229731"/>
                    <a:pt x="710274" y="274736"/>
                    <a:pt x="675589" y="307313"/>
                  </a:cubicBezTo>
                  <a:lnTo>
                    <a:pt x="648072" y="324739"/>
                  </a:lnTo>
                  <a:lnTo>
                    <a:pt x="648072" y="403358"/>
                  </a:lnTo>
                  <a:lnTo>
                    <a:pt x="1080120" y="403358"/>
                  </a:lnTo>
                  <a:lnTo>
                    <a:pt x="1080120" y="835407"/>
                  </a:lnTo>
                  <a:lnTo>
                    <a:pt x="971550" y="835407"/>
                  </a:lnTo>
                  <a:lnTo>
                    <a:pt x="954124" y="807890"/>
                  </a:lnTo>
                  <a:cubicBezTo>
                    <a:pt x="921547" y="773205"/>
                    <a:pt x="876542" y="751752"/>
                    <a:pt x="826831" y="751752"/>
                  </a:cubicBezTo>
                  <a:cubicBezTo>
                    <a:pt x="727409" y="751752"/>
                    <a:pt x="646811" y="837564"/>
                    <a:pt x="646811" y="943419"/>
                  </a:cubicBezTo>
                  <a:cubicBezTo>
                    <a:pt x="646811" y="1049274"/>
                    <a:pt x="727409" y="1135086"/>
                    <a:pt x="826831" y="1135086"/>
                  </a:cubicBezTo>
                  <a:cubicBezTo>
                    <a:pt x="876542" y="1135086"/>
                    <a:pt x="921547" y="1113633"/>
                    <a:pt x="954124" y="1078948"/>
                  </a:cubicBezTo>
                  <a:lnTo>
                    <a:pt x="971550" y="1051431"/>
                  </a:lnTo>
                  <a:lnTo>
                    <a:pt x="1080120" y="1051431"/>
                  </a:lnTo>
                  <a:lnTo>
                    <a:pt x="1080120" y="1483478"/>
                  </a:lnTo>
                  <a:lnTo>
                    <a:pt x="0" y="1483478"/>
                  </a:lnTo>
                  <a:lnTo>
                    <a:pt x="0" y="403358"/>
                  </a:lnTo>
                  <a:lnTo>
                    <a:pt x="432048" y="403358"/>
                  </a:lnTo>
                  <a:lnTo>
                    <a:pt x="432048" y="324739"/>
                  </a:lnTo>
                  <a:lnTo>
                    <a:pt x="404531" y="307313"/>
                  </a:lnTo>
                  <a:cubicBezTo>
                    <a:pt x="369846" y="274736"/>
                    <a:pt x="348393" y="229731"/>
                    <a:pt x="348393" y="180020"/>
                  </a:cubicBezTo>
                  <a:cubicBezTo>
                    <a:pt x="348393" y="80598"/>
                    <a:pt x="434205" y="0"/>
                    <a:pt x="540060" y="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905"/>
            </a:p>
          </p:txBody>
        </p:sp>
        <p:sp>
          <p:nvSpPr>
            <p:cNvPr id="106" name="Forme libre 14">
              <a:extLst>
                <a:ext uri="{FF2B5EF4-FFF2-40B4-BE49-F238E27FC236}">
                  <a16:creationId xmlns:a16="http://schemas.microsoft.com/office/drawing/2014/main" id="{07A735C3-FD02-4988-BA06-E23016AA5E57}"/>
                </a:ext>
              </a:extLst>
            </p:cNvPr>
            <p:cNvSpPr/>
            <p:nvPr/>
          </p:nvSpPr>
          <p:spPr>
            <a:xfrm rot="16200000">
              <a:off x="3132093" y="2986015"/>
              <a:ext cx="1582991" cy="2585719"/>
            </a:xfrm>
            <a:custGeom>
              <a:avLst/>
              <a:gdLst>
                <a:gd name="connsiteX0" fmla="*/ 540060 w 1080120"/>
                <a:gd name="connsiteY0" fmla="*/ 0 h 1483478"/>
                <a:gd name="connsiteX1" fmla="*/ 731727 w 1080120"/>
                <a:gd name="connsiteY1" fmla="*/ 180020 h 1483478"/>
                <a:gd name="connsiteX2" fmla="*/ 675589 w 1080120"/>
                <a:gd name="connsiteY2" fmla="*/ 307313 h 1483478"/>
                <a:gd name="connsiteX3" fmla="*/ 648072 w 1080120"/>
                <a:gd name="connsiteY3" fmla="*/ 324739 h 1483478"/>
                <a:gd name="connsiteX4" fmla="*/ 648072 w 1080120"/>
                <a:gd name="connsiteY4" fmla="*/ 403358 h 1483478"/>
                <a:gd name="connsiteX5" fmla="*/ 1080120 w 1080120"/>
                <a:gd name="connsiteY5" fmla="*/ 403358 h 1483478"/>
                <a:gd name="connsiteX6" fmla="*/ 1080120 w 1080120"/>
                <a:gd name="connsiteY6" fmla="*/ 835407 h 1483478"/>
                <a:gd name="connsiteX7" fmla="*/ 971550 w 1080120"/>
                <a:gd name="connsiteY7" fmla="*/ 835407 h 1483478"/>
                <a:gd name="connsiteX8" fmla="*/ 954124 w 1080120"/>
                <a:gd name="connsiteY8" fmla="*/ 807890 h 1483478"/>
                <a:gd name="connsiteX9" fmla="*/ 826831 w 1080120"/>
                <a:gd name="connsiteY9" fmla="*/ 751752 h 1483478"/>
                <a:gd name="connsiteX10" fmla="*/ 646811 w 1080120"/>
                <a:gd name="connsiteY10" fmla="*/ 943419 h 1483478"/>
                <a:gd name="connsiteX11" fmla="*/ 826831 w 1080120"/>
                <a:gd name="connsiteY11" fmla="*/ 1135086 h 1483478"/>
                <a:gd name="connsiteX12" fmla="*/ 954124 w 1080120"/>
                <a:gd name="connsiteY12" fmla="*/ 1078948 h 1483478"/>
                <a:gd name="connsiteX13" fmla="*/ 971550 w 1080120"/>
                <a:gd name="connsiteY13" fmla="*/ 1051431 h 1483478"/>
                <a:gd name="connsiteX14" fmla="*/ 1080120 w 1080120"/>
                <a:gd name="connsiteY14" fmla="*/ 1051431 h 1483478"/>
                <a:gd name="connsiteX15" fmla="*/ 1080120 w 1080120"/>
                <a:gd name="connsiteY15" fmla="*/ 1483478 h 1483478"/>
                <a:gd name="connsiteX16" fmla="*/ 0 w 1080120"/>
                <a:gd name="connsiteY16" fmla="*/ 1483478 h 1483478"/>
                <a:gd name="connsiteX17" fmla="*/ 0 w 1080120"/>
                <a:gd name="connsiteY17" fmla="*/ 403358 h 1483478"/>
                <a:gd name="connsiteX18" fmla="*/ 432048 w 1080120"/>
                <a:gd name="connsiteY18" fmla="*/ 403358 h 1483478"/>
                <a:gd name="connsiteX19" fmla="*/ 432048 w 1080120"/>
                <a:gd name="connsiteY19" fmla="*/ 324739 h 1483478"/>
                <a:gd name="connsiteX20" fmla="*/ 404531 w 1080120"/>
                <a:gd name="connsiteY20" fmla="*/ 307313 h 1483478"/>
                <a:gd name="connsiteX21" fmla="*/ 348393 w 1080120"/>
                <a:gd name="connsiteY21" fmla="*/ 180020 h 1483478"/>
                <a:gd name="connsiteX22" fmla="*/ 540060 w 1080120"/>
                <a:gd name="connsiteY22" fmla="*/ 0 h 148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80120" h="1483478">
                  <a:moveTo>
                    <a:pt x="540060" y="0"/>
                  </a:moveTo>
                  <a:cubicBezTo>
                    <a:pt x="645915" y="0"/>
                    <a:pt x="731727" y="80598"/>
                    <a:pt x="731727" y="180020"/>
                  </a:cubicBezTo>
                  <a:cubicBezTo>
                    <a:pt x="731727" y="229731"/>
                    <a:pt x="710274" y="274736"/>
                    <a:pt x="675589" y="307313"/>
                  </a:cubicBezTo>
                  <a:lnTo>
                    <a:pt x="648072" y="324739"/>
                  </a:lnTo>
                  <a:lnTo>
                    <a:pt x="648072" y="403358"/>
                  </a:lnTo>
                  <a:lnTo>
                    <a:pt x="1080120" y="403358"/>
                  </a:lnTo>
                  <a:lnTo>
                    <a:pt x="1080120" y="835407"/>
                  </a:lnTo>
                  <a:lnTo>
                    <a:pt x="971550" y="835407"/>
                  </a:lnTo>
                  <a:lnTo>
                    <a:pt x="954124" y="807890"/>
                  </a:lnTo>
                  <a:cubicBezTo>
                    <a:pt x="921547" y="773205"/>
                    <a:pt x="876542" y="751752"/>
                    <a:pt x="826831" y="751752"/>
                  </a:cubicBezTo>
                  <a:cubicBezTo>
                    <a:pt x="727409" y="751752"/>
                    <a:pt x="646811" y="837564"/>
                    <a:pt x="646811" y="943419"/>
                  </a:cubicBezTo>
                  <a:cubicBezTo>
                    <a:pt x="646811" y="1049274"/>
                    <a:pt x="727409" y="1135086"/>
                    <a:pt x="826831" y="1135086"/>
                  </a:cubicBezTo>
                  <a:cubicBezTo>
                    <a:pt x="876542" y="1135086"/>
                    <a:pt x="921547" y="1113633"/>
                    <a:pt x="954124" y="1078948"/>
                  </a:cubicBezTo>
                  <a:lnTo>
                    <a:pt x="971550" y="1051431"/>
                  </a:lnTo>
                  <a:lnTo>
                    <a:pt x="1080120" y="1051431"/>
                  </a:lnTo>
                  <a:lnTo>
                    <a:pt x="1080120" y="1483478"/>
                  </a:lnTo>
                  <a:lnTo>
                    <a:pt x="0" y="1483478"/>
                  </a:lnTo>
                  <a:lnTo>
                    <a:pt x="0" y="403358"/>
                  </a:lnTo>
                  <a:lnTo>
                    <a:pt x="432048" y="403358"/>
                  </a:lnTo>
                  <a:lnTo>
                    <a:pt x="432048" y="324739"/>
                  </a:lnTo>
                  <a:lnTo>
                    <a:pt x="404531" y="307313"/>
                  </a:lnTo>
                  <a:cubicBezTo>
                    <a:pt x="369846" y="274736"/>
                    <a:pt x="348393" y="229731"/>
                    <a:pt x="348393" y="180020"/>
                  </a:cubicBezTo>
                  <a:cubicBezTo>
                    <a:pt x="348393" y="80598"/>
                    <a:pt x="434205" y="0"/>
                    <a:pt x="540060" y="0"/>
                  </a:cubicBezTo>
                  <a:close/>
                </a:path>
              </a:pathLst>
            </a:custGeom>
            <a:solidFill>
              <a:srgbClr val="92D050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905"/>
            </a:p>
          </p:txBody>
        </p:sp>
        <p:sp>
          <p:nvSpPr>
            <p:cNvPr id="107" name="Forme libre 15">
              <a:extLst>
                <a:ext uri="{FF2B5EF4-FFF2-40B4-BE49-F238E27FC236}">
                  <a16:creationId xmlns:a16="http://schemas.microsoft.com/office/drawing/2014/main" id="{09834F95-69E4-451E-965F-37509CC89D5A}"/>
                </a:ext>
              </a:extLst>
            </p:cNvPr>
            <p:cNvSpPr/>
            <p:nvPr/>
          </p:nvSpPr>
          <p:spPr>
            <a:xfrm rot="10800000">
              <a:off x="3343161" y="1916903"/>
              <a:ext cx="1873285" cy="2201735"/>
            </a:xfrm>
            <a:custGeom>
              <a:avLst/>
              <a:gdLst>
                <a:gd name="connsiteX0" fmla="*/ 540060 w 1080120"/>
                <a:gd name="connsiteY0" fmla="*/ 0 h 1483478"/>
                <a:gd name="connsiteX1" fmla="*/ 731727 w 1080120"/>
                <a:gd name="connsiteY1" fmla="*/ 180020 h 1483478"/>
                <a:gd name="connsiteX2" fmla="*/ 675589 w 1080120"/>
                <a:gd name="connsiteY2" fmla="*/ 307313 h 1483478"/>
                <a:gd name="connsiteX3" fmla="*/ 648072 w 1080120"/>
                <a:gd name="connsiteY3" fmla="*/ 324739 h 1483478"/>
                <a:gd name="connsiteX4" fmla="*/ 648072 w 1080120"/>
                <a:gd name="connsiteY4" fmla="*/ 403358 h 1483478"/>
                <a:gd name="connsiteX5" fmla="*/ 1080120 w 1080120"/>
                <a:gd name="connsiteY5" fmla="*/ 403358 h 1483478"/>
                <a:gd name="connsiteX6" fmla="*/ 1080120 w 1080120"/>
                <a:gd name="connsiteY6" fmla="*/ 835407 h 1483478"/>
                <a:gd name="connsiteX7" fmla="*/ 971550 w 1080120"/>
                <a:gd name="connsiteY7" fmla="*/ 835407 h 1483478"/>
                <a:gd name="connsiteX8" fmla="*/ 954124 w 1080120"/>
                <a:gd name="connsiteY8" fmla="*/ 807890 h 1483478"/>
                <a:gd name="connsiteX9" fmla="*/ 826831 w 1080120"/>
                <a:gd name="connsiteY9" fmla="*/ 751752 h 1483478"/>
                <a:gd name="connsiteX10" fmla="*/ 646811 w 1080120"/>
                <a:gd name="connsiteY10" fmla="*/ 943419 h 1483478"/>
                <a:gd name="connsiteX11" fmla="*/ 826831 w 1080120"/>
                <a:gd name="connsiteY11" fmla="*/ 1135086 h 1483478"/>
                <a:gd name="connsiteX12" fmla="*/ 954124 w 1080120"/>
                <a:gd name="connsiteY12" fmla="*/ 1078948 h 1483478"/>
                <a:gd name="connsiteX13" fmla="*/ 971550 w 1080120"/>
                <a:gd name="connsiteY13" fmla="*/ 1051431 h 1483478"/>
                <a:gd name="connsiteX14" fmla="*/ 1080120 w 1080120"/>
                <a:gd name="connsiteY14" fmla="*/ 1051431 h 1483478"/>
                <a:gd name="connsiteX15" fmla="*/ 1080120 w 1080120"/>
                <a:gd name="connsiteY15" fmla="*/ 1483478 h 1483478"/>
                <a:gd name="connsiteX16" fmla="*/ 0 w 1080120"/>
                <a:gd name="connsiteY16" fmla="*/ 1483478 h 1483478"/>
                <a:gd name="connsiteX17" fmla="*/ 0 w 1080120"/>
                <a:gd name="connsiteY17" fmla="*/ 403358 h 1483478"/>
                <a:gd name="connsiteX18" fmla="*/ 432048 w 1080120"/>
                <a:gd name="connsiteY18" fmla="*/ 403358 h 1483478"/>
                <a:gd name="connsiteX19" fmla="*/ 432048 w 1080120"/>
                <a:gd name="connsiteY19" fmla="*/ 324739 h 1483478"/>
                <a:gd name="connsiteX20" fmla="*/ 404531 w 1080120"/>
                <a:gd name="connsiteY20" fmla="*/ 307313 h 1483478"/>
                <a:gd name="connsiteX21" fmla="*/ 348393 w 1080120"/>
                <a:gd name="connsiteY21" fmla="*/ 180020 h 1483478"/>
                <a:gd name="connsiteX22" fmla="*/ 540060 w 1080120"/>
                <a:gd name="connsiteY22" fmla="*/ 0 h 148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80120" h="1483478">
                  <a:moveTo>
                    <a:pt x="540060" y="0"/>
                  </a:moveTo>
                  <a:cubicBezTo>
                    <a:pt x="645915" y="0"/>
                    <a:pt x="731727" y="80598"/>
                    <a:pt x="731727" y="180020"/>
                  </a:cubicBezTo>
                  <a:cubicBezTo>
                    <a:pt x="731727" y="229731"/>
                    <a:pt x="710274" y="274736"/>
                    <a:pt x="675589" y="307313"/>
                  </a:cubicBezTo>
                  <a:lnTo>
                    <a:pt x="648072" y="324739"/>
                  </a:lnTo>
                  <a:lnTo>
                    <a:pt x="648072" y="403358"/>
                  </a:lnTo>
                  <a:lnTo>
                    <a:pt x="1080120" y="403358"/>
                  </a:lnTo>
                  <a:lnTo>
                    <a:pt x="1080120" y="835407"/>
                  </a:lnTo>
                  <a:lnTo>
                    <a:pt x="971550" y="835407"/>
                  </a:lnTo>
                  <a:lnTo>
                    <a:pt x="954124" y="807890"/>
                  </a:lnTo>
                  <a:cubicBezTo>
                    <a:pt x="921547" y="773205"/>
                    <a:pt x="876542" y="751752"/>
                    <a:pt x="826831" y="751752"/>
                  </a:cubicBezTo>
                  <a:cubicBezTo>
                    <a:pt x="727409" y="751752"/>
                    <a:pt x="646811" y="837564"/>
                    <a:pt x="646811" y="943419"/>
                  </a:cubicBezTo>
                  <a:cubicBezTo>
                    <a:pt x="646811" y="1049274"/>
                    <a:pt x="727409" y="1135086"/>
                    <a:pt x="826831" y="1135086"/>
                  </a:cubicBezTo>
                  <a:cubicBezTo>
                    <a:pt x="876542" y="1135086"/>
                    <a:pt x="921547" y="1113633"/>
                    <a:pt x="954124" y="1078948"/>
                  </a:cubicBezTo>
                  <a:lnTo>
                    <a:pt x="971550" y="1051431"/>
                  </a:lnTo>
                  <a:lnTo>
                    <a:pt x="1080120" y="1051431"/>
                  </a:lnTo>
                  <a:lnTo>
                    <a:pt x="1080120" y="1483478"/>
                  </a:lnTo>
                  <a:lnTo>
                    <a:pt x="0" y="1483478"/>
                  </a:lnTo>
                  <a:lnTo>
                    <a:pt x="0" y="403358"/>
                  </a:lnTo>
                  <a:lnTo>
                    <a:pt x="432048" y="403358"/>
                  </a:lnTo>
                  <a:lnTo>
                    <a:pt x="432048" y="324739"/>
                  </a:lnTo>
                  <a:lnTo>
                    <a:pt x="404531" y="307313"/>
                  </a:lnTo>
                  <a:cubicBezTo>
                    <a:pt x="369846" y="274736"/>
                    <a:pt x="348393" y="229731"/>
                    <a:pt x="348393" y="180020"/>
                  </a:cubicBezTo>
                  <a:cubicBezTo>
                    <a:pt x="348393" y="80598"/>
                    <a:pt x="434205" y="0"/>
                    <a:pt x="540060" y="0"/>
                  </a:cubicBezTo>
                  <a:close/>
                </a:path>
              </a:pathLst>
            </a:custGeom>
            <a:solidFill>
              <a:schemeClr val="accent5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905">
                <a:ln w="3175">
                  <a:solidFill>
                    <a:schemeClr val="tx1"/>
                  </a:solidFill>
                </a:ln>
              </a:endParaRPr>
            </a:p>
          </p:txBody>
        </p:sp>
        <p:sp>
          <p:nvSpPr>
            <p:cNvPr id="108" name="Forme libre 16">
              <a:extLst>
                <a:ext uri="{FF2B5EF4-FFF2-40B4-BE49-F238E27FC236}">
                  <a16:creationId xmlns:a16="http://schemas.microsoft.com/office/drawing/2014/main" id="{2F253BBC-05FD-482C-896F-06B0965B6A89}"/>
                </a:ext>
              </a:extLst>
            </p:cNvPr>
            <p:cNvSpPr/>
            <p:nvPr/>
          </p:nvSpPr>
          <p:spPr>
            <a:xfrm rot="3867123">
              <a:off x="1765277" y="972737"/>
              <a:ext cx="1565776" cy="2627287"/>
            </a:xfrm>
            <a:custGeom>
              <a:avLst/>
              <a:gdLst>
                <a:gd name="connsiteX0" fmla="*/ 540060 w 1080120"/>
                <a:gd name="connsiteY0" fmla="*/ 0 h 1483478"/>
                <a:gd name="connsiteX1" fmla="*/ 731727 w 1080120"/>
                <a:gd name="connsiteY1" fmla="*/ 180020 h 1483478"/>
                <a:gd name="connsiteX2" fmla="*/ 675589 w 1080120"/>
                <a:gd name="connsiteY2" fmla="*/ 307313 h 1483478"/>
                <a:gd name="connsiteX3" fmla="*/ 648072 w 1080120"/>
                <a:gd name="connsiteY3" fmla="*/ 324739 h 1483478"/>
                <a:gd name="connsiteX4" fmla="*/ 648072 w 1080120"/>
                <a:gd name="connsiteY4" fmla="*/ 403358 h 1483478"/>
                <a:gd name="connsiteX5" fmla="*/ 1080120 w 1080120"/>
                <a:gd name="connsiteY5" fmla="*/ 403358 h 1483478"/>
                <a:gd name="connsiteX6" fmla="*/ 1080120 w 1080120"/>
                <a:gd name="connsiteY6" fmla="*/ 835407 h 1483478"/>
                <a:gd name="connsiteX7" fmla="*/ 971550 w 1080120"/>
                <a:gd name="connsiteY7" fmla="*/ 835407 h 1483478"/>
                <a:gd name="connsiteX8" fmla="*/ 954124 w 1080120"/>
                <a:gd name="connsiteY8" fmla="*/ 807890 h 1483478"/>
                <a:gd name="connsiteX9" fmla="*/ 826831 w 1080120"/>
                <a:gd name="connsiteY9" fmla="*/ 751752 h 1483478"/>
                <a:gd name="connsiteX10" fmla="*/ 646811 w 1080120"/>
                <a:gd name="connsiteY10" fmla="*/ 943419 h 1483478"/>
                <a:gd name="connsiteX11" fmla="*/ 826831 w 1080120"/>
                <a:gd name="connsiteY11" fmla="*/ 1135086 h 1483478"/>
                <a:gd name="connsiteX12" fmla="*/ 954124 w 1080120"/>
                <a:gd name="connsiteY12" fmla="*/ 1078948 h 1483478"/>
                <a:gd name="connsiteX13" fmla="*/ 971550 w 1080120"/>
                <a:gd name="connsiteY13" fmla="*/ 1051431 h 1483478"/>
                <a:gd name="connsiteX14" fmla="*/ 1080120 w 1080120"/>
                <a:gd name="connsiteY14" fmla="*/ 1051431 h 1483478"/>
                <a:gd name="connsiteX15" fmla="*/ 1080120 w 1080120"/>
                <a:gd name="connsiteY15" fmla="*/ 1483478 h 1483478"/>
                <a:gd name="connsiteX16" fmla="*/ 0 w 1080120"/>
                <a:gd name="connsiteY16" fmla="*/ 1483478 h 1483478"/>
                <a:gd name="connsiteX17" fmla="*/ 0 w 1080120"/>
                <a:gd name="connsiteY17" fmla="*/ 403358 h 1483478"/>
                <a:gd name="connsiteX18" fmla="*/ 432048 w 1080120"/>
                <a:gd name="connsiteY18" fmla="*/ 403358 h 1483478"/>
                <a:gd name="connsiteX19" fmla="*/ 432048 w 1080120"/>
                <a:gd name="connsiteY19" fmla="*/ 324739 h 1483478"/>
                <a:gd name="connsiteX20" fmla="*/ 404531 w 1080120"/>
                <a:gd name="connsiteY20" fmla="*/ 307313 h 1483478"/>
                <a:gd name="connsiteX21" fmla="*/ 348393 w 1080120"/>
                <a:gd name="connsiteY21" fmla="*/ 180020 h 1483478"/>
                <a:gd name="connsiteX22" fmla="*/ 540060 w 1080120"/>
                <a:gd name="connsiteY22" fmla="*/ 0 h 1483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80120" h="1483478">
                  <a:moveTo>
                    <a:pt x="540060" y="0"/>
                  </a:moveTo>
                  <a:cubicBezTo>
                    <a:pt x="645915" y="0"/>
                    <a:pt x="731727" y="80598"/>
                    <a:pt x="731727" y="180020"/>
                  </a:cubicBezTo>
                  <a:cubicBezTo>
                    <a:pt x="731727" y="229731"/>
                    <a:pt x="710274" y="274736"/>
                    <a:pt x="675589" y="307313"/>
                  </a:cubicBezTo>
                  <a:lnTo>
                    <a:pt x="648072" y="324739"/>
                  </a:lnTo>
                  <a:lnTo>
                    <a:pt x="648072" y="403358"/>
                  </a:lnTo>
                  <a:lnTo>
                    <a:pt x="1080120" y="403358"/>
                  </a:lnTo>
                  <a:lnTo>
                    <a:pt x="1080120" y="835407"/>
                  </a:lnTo>
                  <a:lnTo>
                    <a:pt x="971550" y="835407"/>
                  </a:lnTo>
                  <a:lnTo>
                    <a:pt x="954124" y="807890"/>
                  </a:lnTo>
                  <a:cubicBezTo>
                    <a:pt x="921547" y="773205"/>
                    <a:pt x="876542" y="751752"/>
                    <a:pt x="826831" y="751752"/>
                  </a:cubicBezTo>
                  <a:cubicBezTo>
                    <a:pt x="727409" y="751752"/>
                    <a:pt x="646811" y="837564"/>
                    <a:pt x="646811" y="943419"/>
                  </a:cubicBezTo>
                  <a:cubicBezTo>
                    <a:pt x="646811" y="1049274"/>
                    <a:pt x="727409" y="1135086"/>
                    <a:pt x="826831" y="1135086"/>
                  </a:cubicBezTo>
                  <a:cubicBezTo>
                    <a:pt x="876542" y="1135086"/>
                    <a:pt x="921547" y="1113633"/>
                    <a:pt x="954124" y="1078948"/>
                  </a:cubicBezTo>
                  <a:lnTo>
                    <a:pt x="971550" y="1051431"/>
                  </a:lnTo>
                  <a:lnTo>
                    <a:pt x="1080120" y="1051431"/>
                  </a:lnTo>
                  <a:lnTo>
                    <a:pt x="1080120" y="1483478"/>
                  </a:lnTo>
                  <a:lnTo>
                    <a:pt x="0" y="1483478"/>
                  </a:lnTo>
                  <a:lnTo>
                    <a:pt x="0" y="403358"/>
                  </a:lnTo>
                  <a:lnTo>
                    <a:pt x="432048" y="403358"/>
                  </a:lnTo>
                  <a:lnTo>
                    <a:pt x="432048" y="324739"/>
                  </a:lnTo>
                  <a:lnTo>
                    <a:pt x="404531" y="307313"/>
                  </a:lnTo>
                  <a:cubicBezTo>
                    <a:pt x="369846" y="274736"/>
                    <a:pt x="348393" y="229731"/>
                    <a:pt x="348393" y="180020"/>
                  </a:cubicBezTo>
                  <a:cubicBezTo>
                    <a:pt x="348393" y="80598"/>
                    <a:pt x="434205" y="0"/>
                    <a:pt x="540060" y="0"/>
                  </a:cubicBezTo>
                  <a:close/>
                </a:path>
              </a:pathLst>
            </a:custGeom>
            <a:solidFill>
              <a:schemeClr val="bg2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905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5C518F28-9EEA-4054-9E02-6189E5D1CACE}"/>
              </a:ext>
            </a:extLst>
          </p:cNvPr>
          <p:cNvGrpSpPr/>
          <p:nvPr/>
        </p:nvGrpSpPr>
        <p:grpSpPr>
          <a:xfrm>
            <a:off x="5613234" y="1727503"/>
            <a:ext cx="540788" cy="479657"/>
            <a:chOff x="421420" y="1324738"/>
            <a:chExt cx="1412874" cy="1412875"/>
          </a:xfrm>
          <a:solidFill>
            <a:schemeClr val="bg2"/>
          </a:solidFill>
        </p:grpSpPr>
        <p:sp>
          <p:nvSpPr>
            <p:cNvPr id="110" name="Freeform 46">
              <a:extLst>
                <a:ext uri="{FF2B5EF4-FFF2-40B4-BE49-F238E27FC236}">
                  <a16:creationId xmlns:a16="http://schemas.microsoft.com/office/drawing/2014/main" id="{4051C4AF-692E-45A6-89F1-94B87E42D6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995" y="1861313"/>
              <a:ext cx="339725" cy="339725"/>
            </a:xfrm>
            <a:custGeom>
              <a:avLst/>
              <a:gdLst>
                <a:gd name="T0" fmla="*/ 428 w 428"/>
                <a:gd name="T1" fmla="*/ 214 h 427"/>
                <a:gd name="T2" fmla="*/ 423 w 428"/>
                <a:gd name="T3" fmla="*/ 257 h 427"/>
                <a:gd name="T4" fmla="*/ 411 w 428"/>
                <a:gd name="T5" fmla="*/ 297 h 427"/>
                <a:gd name="T6" fmla="*/ 391 w 428"/>
                <a:gd name="T7" fmla="*/ 334 h 427"/>
                <a:gd name="T8" fmla="*/ 365 w 428"/>
                <a:gd name="T9" fmla="*/ 365 h 427"/>
                <a:gd name="T10" fmla="*/ 334 w 428"/>
                <a:gd name="T11" fmla="*/ 391 h 427"/>
                <a:gd name="T12" fmla="*/ 298 w 428"/>
                <a:gd name="T13" fmla="*/ 410 h 427"/>
                <a:gd name="T14" fmla="*/ 258 w 428"/>
                <a:gd name="T15" fmla="*/ 422 h 427"/>
                <a:gd name="T16" fmla="*/ 214 w 428"/>
                <a:gd name="T17" fmla="*/ 427 h 427"/>
                <a:gd name="T18" fmla="*/ 191 w 428"/>
                <a:gd name="T19" fmla="*/ 426 h 427"/>
                <a:gd name="T20" fmla="*/ 150 w 428"/>
                <a:gd name="T21" fmla="*/ 417 h 427"/>
                <a:gd name="T22" fmla="*/ 112 w 428"/>
                <a:gd name="T23" fmla="*/ 401 h 427"/>
                <a:gd name="T24" fmla="*/ 78 w 428"/>
                <a:gd name="T25" fmla="*/ 379 h 427"/>
                <a:gd name="T26" fmla="*/ 49 w 428"/>
                <a:gd name="T27" fmla="*/ 349 h 427"/>
                <a:gd name="T28" fmla="*/ 26 w 428"/>
                <a:gd name="T29" fmla="*/ 314 h 427"/>
                <a:gd name="T30" fmla="*/ 11 w 428"/>
                <a:gd name="T31" fmla="*/ 276 h 427"/>
                <a:gd name="T32" fmla="*/ 2 w 428"/>
                <a:gd name="T33" fmla="*/ 234 h 427"/>
                <a:gd name="T34" fmla="*/ 0 w 428"/>
                <a:gd name="T35" fmla="*/ 214 h 427"/>
                <a:gd name="T36" fmla="*/ 5 w 428"/>
                <a:gd name="T37" fmla="*/ 170 h 427"/>
                <a:gd name="T38" fmla="*/ 18 w 428"/>
                <a:gd name="T39" fmla="*/ 130 h 427"/>
                <a:gd name="T40" fmla="*/ 37 w 428"/>
                <a:gd name="T41" fmla="*/ 94 h 427"/>
                <a:gd name="T42" fmla="*/ 63 w 428"/>
                <a:gd name="T43" fmla="*/ 62 h 427"/>
                <a:gd name="T44" fmla="*/ 94 w 428"/>
                <a:gd name="T45" fmla="*/ 36 h 427"/>
                <a:gd name="T46" fmla="*/ 131 w 428"/>
                <a:gd name="T47" fmla="*/ 17 h 427"/>
                <a:gd name="T48" fmla="*/ 171 w 428"/>
                <a:gd name="T49" fmla="*/ 3 h 427"/>
                <a:gd name="T50" fmla="*/ 214 w 428"/>
                <a:gd name="T51" fmla="*/ 0 h 427"/>
                <a:gd name="T52" fmla="*/ 237 w 428"/>
                <a:gd name="T53" fmla="*/ 1 h 427"/>
                <a:gd name="T54" fmla="*/ 277 w 428"/>
                <a:gd name="T55" fmla="*/ 8 h 427"/>
                <a:gd name="T56" fmla="*/ 317 w 428"/>
                <a:gd name="T57" fmla="*/ 26 h 427"/>
                <a:gd name="T58" fmla="*/ 350 w 428"/>
                <a:gd name="T59" fmla="*/ 48 h 427"/>
                <a:gd name="T60" fmla="*/ 379 w 428"/>
                <a:gd name="T61" fmla="*/ 78 h 427"/>
                <a:gd name="T62" fmla="*/ 402 w 428"/>
                <a:gd name="T63" fmla="*/ 111 h 427"/>
                <a:gd name="T64" fmla="*/ 417 w 428"/>
                <a:gd name="T65" fmla="*/ 149 h 427"/>
                <a:gd name="T66" fmla="*/ 426 w 428"/>
                <a:gd name="T67" fmla="*/ 191 h 427"/>
                <a:gd name="T68" fmla="*/ 428 w 428"/>
                <a:gd name="T69" fmla="*/ 214 h 427"/>
                <a:gd name="T70" fmla="*/ 428 w 428"/>
                <a:gd name="T71" fmla="*/ 214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8" h="427">
                  <a:moveTo>
                    <a:pt x="428" y="214"/>
                  </a:moveTo>
                  <a:lnTo>
                    <a:pt x="428" y="214"/>
                  </a:lnTo>
                  <a:lnTo>
                    <a:pt x="426" y="234"/>
                  </a:lnTo>
                  <a:lnTo>
                    <a:pt x="423" y="257"/>
                  </a:lnTo>
                  <a:lnTo>
                    <a:pt x="417" y="276"/>
                  </a:lnTo>
                  <a:lnTo>
                    <a:pt x="411" y="297"/>
                  </a:lnTo>
                  <a:lnTo>
                    <a:pt x="402" y="314"/>
                  </a:lnTo>
                  <a:lnTo>
                    <a:pt x="391" y="334"/>
                  </a:lnTo>
                  <a:lnTo>
                    <a:pt x="379" y="349"/>
                  </a:lnTo>
                  <a:lnTo>
                    <a:pt x="365" y="365"/>
                  </a:lnTo>
                  <a:lnTo>
                    <a:pt x="350" y="379"/>
                  </a:lnTo>
                  <a:lnTo>
                    <a:pt x="334" y="391"/>
                  </a:lnTo>
                  <a:lnTo>
                    <a:pt x="317" y="401"/>
                  </a:lnTo>
                  <a:lnTo>
                    <a:pt x="298" y="410"/>
                  </a:lnTo>
                  <a:lnTo>
                    <a:pt x="277" y="417"/>
                  </a:lnTo>
                  <a:lnTo>
                    <a:pt x="258" y="422"/>
                  </a:lnTo>
                  <a:lnTo>
                    <a:pt x="237" y="426"/>
                  </a:lnTo>
                  <a:lnTo>
                    <a:pt x="214" y="427"/>
                  </a:lnTo>
                  <a:lnTo>
                    <a:pt x="214" y="427"/>
                  </a:lnTo>
                  <a:lnTo>
                    <a:pt x="191" y="426"/>
                  </a:lnTo>
                  <a:lnTo>
                    <a:pt x="171" y="422"/>
                  </a:lnTo>
                  <a:lnTo>
                    <a:pt x="150" y="417"/>
                  </a:lnTo>
                  <a:lnTo>
                    <a:pt x="131" y="410"/>
                  </a:lnTo>
                  <a:lnTo>
                    <a:pt x="112" y="401"/>
                  </a:lnTo>
                  <a:lnTo>
                    <a:pt x="94" y="391"/>
                  </a:lnTo>
                  <a:lnTo>
                    <a:pt x="78" y="379"/>
                  </a:lnTo>
                  <a:lnTo>
                    <a:pt x="63" y="365"/>
                  </a:lnTo>
                  <a:lnTo>
                    <a:pt x="49" y="349"/>
                  </a:lnTo>
                  <a:lnTo>
                    <a:pt x="37" y="334"/>
                  </a:lnTo>
                  <a:lnTo>
                    <a:pt x="26" y="314"/>
                  </a:lnTo>
                  <a:lnTo>
                    <a:pt x="18" y="297"/>
                  </a:lnTo>
                  <a:lnTo>
                    <a:pt x="11" y="276"/>
                  </a:lnTo>
                  <a:lnTo>
                    <a:pt x="5" y="257"/>
                  </a:lnTo>
                  <a:lnTo>
                    <a:pt x="2" y="234"/>
                  </a:lnTo>
                  <a:lnTo>
                    <a:pt x="0" y="214"/>
                  </a:lnTo>
                  <a:lnTo>
                    <a:pt x="0" y="214"/>
                  </a:lnTo>
                  <a:lnTo>
                    <a:pt x="2" y="191"/>
                  </a:lnTo>
                  <a:lnTo>
                    <a:pt x="5" y="170"/>
                  </a:lnTo>
                  <a:lnTo>
                    <a:pt x="11" y="149"/>
                  </a:lnTo>
                  <a:lnTo>
                    <a:pt x="18" y="130"/>
                  </a:lnTo>
                  <a:lnTo>
                    <a:pt x="26" y="111"/>
                  </a:lnTo>
                  <a:lnTo>
                    <a:pt x="37" y="94"/>
                  </a:lnTo>
                  <a:lnTo>
                    <a:pt x="49" y="78"/>
                  </a:lnTo>
                  <a:lnTo>
                    <a:pt x="63" y="62"/>
                  </a:lnTo>
                  <a:lnTo>
                    <a:pt x="78" y="48"/>
                  </a:lnTo>
                  <a:lnTo>
                    <a:pt x="94" y="36"/>
                  </a:lnTo>
                  <a:lnTo>
                    <a:pt x="112" y="26"/>
                  </a:lnTo>
                  <a:lnTo>
                    <a:pt x="131" y="17"/>
                  </a:lnTo>
                  <a:lnTo>
                    <a:pt x="150" y="8"/>
                  </a:lnTo>
                  <a:lnTo>
                    <a:pt x="171" y="3"/>
                  </a:lnTo>
                  <a:lnTo>
                    <a:pt x="191" y="1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37" y="1"/>
                  </a:lnTo>
                  <a:lnTo>
                    <a:pt x="258" y="3"/>
                  </a:lnTo>
                  <a:lnTo>
                    <a:pt x="277" y="8"/>
                  </a:lnTo>
                  <a:lnTo>
                    <a:pt x="298" y="17"/>
                  </a:lnTo>
                  <a:lnTo>
                    <a:pt x="317" y="26"/>
                  </a:lnTo>
                  <a:lnTo>
                    <a:pt x="334" y="36"/>
                  </a:lnTo>
                  <a:lnTo>
                    <a:pt x="350" y="48"/>
                  </a:lnTo>
                  <a:lnTo>
                    <a:pt x="365" y="62"/>
                  </a:lnTo>
                  <a:lnTo>
                    <a:pt x="379" y="78"/>
                  </a:lnTo>
                  <a:lnTo>
                    <a:pt x="391" y="94"/>
                  </a:lnTo>
                  <a:lnTo>
                    <a:pt x="402" y="111"/>
                  </a:lnTo>
                  <a:lnTo>
                    <a:pt x="411" y="130"/>
                  </a:lnTo>
                  <a:lnTo>
                    <a:pt x="417" y="149"/>
                  </a:lnTo>
                  <a:lnTo>
                    <a:pt x="423" y="170"/>
                  </a:lnTo>
                  <a:lnTo>
                    <a:pt x="426" y="191"/>
                  </a:lnTo>
                  <a:lnTo>
                    <a:pt x="428" y="214"/>
                  </a:lnTo>
                  <a:lnTo>
                    <a:pt x="428" y="214"/>
                  </a:lnTo>
                  <a:close/>
                  <a:moveTo>
                    <a:pt x="428" y="214"/>
                  </a:moveTo>
                  <a:lnTo>
                    <a:pt x="428" y="2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47">
              <a:extLst>
                <a:ext uri="{FF2B5EF4-FFF2-40B4-BE49-F238E27FC236}">
                  <a16:creationId xmlns:a16="http://schemas.microsoft.com/office/drawing/2014/main" id="{0913FA39-E0F7-4B9D-AC98-E532576A2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995" y="1861313"/>
              <a:ext cx="339725" cy="339725"/>
            </a:xfrm>
            <a:custGeom>
              <a:avLst/>
              <a:gdLst>
                <a:gd name="T0" fmla="*/ 428 w 428"/>
                <a:gd name="T1" fmla="*/ 214 h 427"/>
                <a:gd name="T2" fmla="*/ 423 w 428"/>
                <a:gd name="T3" fmla="*/ 257 h 427"/>
                <a:gd name="T4" fmla="*/ 411 w 428"/>
                <a:gd name="T5" fmla="*/ 297 h 427"/>
                <a:gd name="T6" fmla="*/ 391 w 428"/>
                <a:gd name="T7" fmla="*/ 334 h 427"/>
                <a:gd name="T8" fmla="*/ 365 w 428"/>
                <a:gd name="T9" fmla="*/ 365 h 427"/>
                <a:gd name="T10" fmla="*/ 334 w 428"/>
                <a:gd name="T11" fmla="*/ 391 h 427"/>
                <a:gd name="T12" fmla="*/ 298 w 428"/>
                <a:gd name="T13" fmla="*/ 410 h 427"/>
                <a:gd name="T14" fmla="*/ 258 w 428"/>
                <a:gd name="T15" fmla="*/ 422 h 427"/>
                <a:gd name="T16" fmla="*/ 214 w 428"/>
                <a:gd name="T17" fmla="*/ 427 h 427"/>
                <a:gd name="T18" fmla="*/ 191 w 428"/>
                <a:gd name="T19" fmla="*/ 426 h 427"/>
                <a:gd name="T20" fmla="*/ 150 w 428"/>
                <a:gd name="T21" fmla="*/ 417 h 427"/>
                <a:gd name="T22" fmla="*/ 112 w 428"/>
                <a:gd name="T23" fmla="*/ 401 h 427"/>
                <a:gd name="T24" fmla="*/ 78 w 428"/>
                <a:gd name="T25" fmla="*/ 379 h 427"/>
                <a:gd name="T26" fmla="*/ 49 w 428"/>
                <a:gd name="T27" fmla="*/ 349 h 427"/>
                <a:gd name="T28" fmla="*/ 26 w 428"/>
                <a:gd name="T29" fmla="*/ 314 h 427"/>
                <a:gd name="T30" fmla="*/ 11 w 428"/>
                <a:gd name="T31" fmla="*/ 276 h 427"/>
                <a:gd name="T32" fmla="*/ 2 w 428"/>
                <a:gd name="T33" fmla="*/ 234 h 427"/>
                <a:gd name="T34" fmla="*/ 0 w 428"/>
                <a:gd name="T35" fmla="*/ 214 h 427"/>
                <a:gd name="T36" fmla="*/ 5 w 428"/>
                <a:gd name="T37" fmla="*/ 170 h 427"/>
                <a:gd name="T38" fmla="*/ 18 w 428"/>
                <a:gd name="T39" fmla="*/ 130 h 427"/>
                <a:gd name="T40" fmla="*/ 37 w 428"/>
                <a:gd name="T41" fmla="*/ 94 h 427"/>
                <a:gd name="T42" fmla="*/ 63 w 428"/>
                <a:gd name="T43" fmla="*/ 62 h 427"/>
                <a:gd name="T44" fmla="*/ 94 w 428"/>
                <a:gd name="T45" fmla="*/ 36 h 427"/>
                <a:gd name="T46" fmla="*/ 131 w 428"/>
                <a:gd name="T47" fmla="*/ 17 h 427"/>
                <a:gd name="T48" fmla="*/ 171 w 428"/>
                <a:gd name="T49" fmla="*/ 3 h 427"/>
                <a:gd name="T50" fmla="*/ 214 w 428"/>
                <a:gd name="T51" fmla="*/ 0 h 427"/>
                <a:gd name="T52" fmla="*/ 237 w 428"/>
                <a:gd name="T53" fmla="*/ 1 h 427"/>
                <a:gd name="T54" fmla="*/ 277 w 428"/>
                <a:gd name="T55" fmla="*/ 8 h 427"/>
                <a:gd name="T56" fmla="*/ 317 w 428"/>
                <a:gd name="T57" fmla="*/ 26 h 427"/>
                <a:gd name="T58" fmla="*/ 350 w 428"/>
                <a:gd name="T59" fmla="*/ 48 h 427"/>
                <a:gd name="T60" fmla="*/ 379 w 428"/>
                <a:gd name="T61" fmla="*/ 78 h 427"/>
                <a:gd name="T62" fmla="*/ 402 w 428"/>
                <a:gd name="T63" fmla="*/ 111 h 427"/>
                <a:gd name="T64" fmla="*/ 417 w 428"/>
                <a:gd name="T65" fmla="*/ 149 h 427"/>
                <a:gd name="T66" fmla="*/ 426 w 428"/>
                <a:gd name="T67" fmla="*/ 191 h 427"/>
                <a:gd name="T68" fmla="*/ 428 w 428"/>
                <a:gd name="T69" fmla="*/ 214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8" h="427">
                  <a:moveTo>
                    <a:pt x="428" y="214"/>
                  </a:moveTo>
                  <a:lnTo>
                    <a:pt x="428" y="214"/>
                  </a:lnTo>
                  <a:lnTo>
                    <a:pt x="426" y="234"/>
                  </a:lnTo>
                  <a:lnTo>
                    <a:pt x="423" y="257"/>
                  </a:lnTo>
                  <a:lnTo>
                    <a:pt x="417" y="276"/>
                  </a:lnTo>
                  <a:lnTo>
                    <a:pt x="411" y="297"/>
                  </a:lnTo>
                  <a:lnTo>
                    <a:pt x="402" y="314"/>
                  </a:lnTo>
                  <a:lnTo>
                    <a:pt x="391" y="334"/>
                  </a:lnTo>
                  <a:lnTo>
                    <a:pt x="379" y="349"/>
                  </a:lnTo>
                  <a:lnTo>
                    <a:pt x="365" y="365"/>
                  </a:lnTo>
                  <a:lnTo>
                    <a:pt x="350" y="379"/>
                  </a:lnTo>
                  <a:lnTo>
                    <a:pt x="334" y="391"/>
                  </a:lnTo>
                  <a:lnTo>
                    <a:pt x="317" y="401"/>
                  </a:lnTo>
                  <a:lnTo>
                    <a:pt x="298" y="410"/>
                  </a:lnTo>
                  <a:lnTo>
                    <a:pt x="277" y="417"/>
                  </a:lnTo>
                  <a:lnTo>
                    <a:pt x="258" y="422"/>
                  </a:lnTo>
                  <a:lnTo>
                    <a:pt x="237" y="426"/>
                  </a:lnTo>
                  <a:lnTo>
                    <a:pt x="214" y="427"/>
                  </a:lnTo>
                  <a:lnTo>
                    <a:pt x="214" y="427"/>
                  </a:lnTo>
                  <a:lnTo>
                    <a:pt x="191" y="426"/>
                  </a:lnTo>
                  <a:lnTo>
                    <a:pt x="171" y="422"/>
                  </a:lnTo>
                  <a:lnTo>
                    <a:pt x="150" y="417"/>
                  </a:lnTo>
                  <a:lnTo>
                    <a:pt x="131" y="410"/>
                  </a:lnTo>
                  <a:lnTo>
                    <a:pt x="112" y="401"/>
                  </a:lnTo>
                  <a:lnTo>
                    <a:pt x="94" y="391"/>
                  </a:lnTo>
                  <a:lnTo>
                    <a:pt x="78" y="379"/>
                  </a:lnTo>
                  <a:lnTo>
                    <a:pt x="63" y="365"/>
                  </a:lnTo>
                  <a:lnTo>
                    <a:pt x="49" y="349"/>
                  </a:lnTo>
                  <a:lnTo>
                    <a:pt x="37" y="334"/>
                  </a:lnTo>
                  <a:lnTo>
                    <a:pt x="26" y="314"/>
                  </a:lnTo>
                  <a:lnTo>
                    <a:pt x="18" y="297"/>
                  </a:lnTo>
                  <a:lnTo>
                    <a:pt x="11" y="276"/>
                  </a:lnTo>
                  <a:lnTo>
                    <a:pt x="5" y="257"/>
                  </a:lnTo>
                  <a:lnTo>
                    <a:pt x="2" y="234"/>
                  </a:lnTo>
                  <a:lnTo>
                    <a:pt x="0" y="214"/>
                  </a:lnTo>
                  <a:lnTo>
                    <a:pt x="0" y="214"/>
                  </a:lnTo>
                  <a:lnTo>
                    <a:pt x="2" y="191"/>
                  </a:lnTo>
                  <a:lnTo>
                    <a:pt x="5" y="170"/>
                  </a:lnTo>
                  <a:lnTo>
                    <a:pt x="11" y="149"/>
                  </a:lnTo>
                  <a:lnTo>
                    <a:pt x="18" y="130"/>
                  </a:lnTo>
                  <a:lnTo>
                    <a:pt x="26" y="111"/>
                  </a:lnTo>
                  <a:lnTo>
                    <a:pt x="37" y="94"/>
                  </a:lnTo>
                  <a:lnTo>
                    <a:pt x="49" y="78"/>
                  </a:lnTo>
                  <a:lnTo>
                    <a:pt x="63" y="62"/>
                  </a:lnTo>
                  <a:lnTo>
                    <a:pt x="78" y="48"/>
                  </a:lnTo>
                  <a:lnTo>
                    <a:pt x="94" y="36"/>
                  </a:lnTo>
                  <a:lnTo>
                    <a:pt x="112" y="26"/>
                  </a:lnTo>
                  <a:lnTo>
                    <a:pt x="131" y="17"/>
                  </a:lnTo>
                  <a:lnTo>
                    <a:pt x="150" y="8"/>
                  </a:lnTo>
                  <a:lnTo>
                    <a:pt x="171" y="3"/>
                  </a:lnTo>
                  <a:lnTo>
                    <a:pt x="191" y="1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37" y="1"/>
                  </a:lnTo>
                  <a:lnTo>
                    <a:pt x="258" y="3"/>
                  </a:lnTo>
                  <a:lnTo>
                    <a:pt x="277" y="8"/>
                  </a:lnTo>
                  <a:lnTo>
                    <a:pt x="298" y="17"/>
                  </a:lnTo>
                  <a:lnTo>
                    <a:pt x="317" y="26"/>
                  </a:lnTo>
                  <a:lnTo>
                    <a:pt x="334" y="36"/>
                  </a:lnTo>
                  <a:lnTo>
                    <a:pt x="350" y="48"/>
                  </a:lnTo>
                  <a:lnTo>
                    <a:pt x="365" y="62"/>
                  </a:lnTo>
                  <a:lnTo>
                    <a:pt x="379" y="78"/>
                  </a:lnTo>
                  <a:lnTo>
                    <a:pt x="391" y="94"/>
                  </a:lnTo>
                  <a:lnTo>
                    <a:pt x="402" y="111"/>
                  </a:lnTo>
                  <a:lnTo>
                    <a:pt x="411" y="130"/>
                  </a:lnTo>
                  <a:lnTo>
                    <a:pt x="417" y="149"/>
                  </a:lnTo>
                  <a:lnTo>
                    <a:pt x="423" y="170"/>
                  </a:lnTo>
                  <a:lnTo>
                    <a:pt x="426" y="191"/>
                  </a:lnTo>
                  <a:lnTo>
                    <a:pt x="428" y="214"/>
                  </a:lnTo>
                  <a:lnTo>
                    <a:pt x="428" y="214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Line 48">
              <a:extLst>
                <a:ext uri="{FF2B5EF4-FFF2-40B4-BE49-F238E27FC236}">
                  <a16:creationId xmlns:a16="http://schemas.microsoft.com/office/drawing/2014/main" id="{273011F2-F4DB-4AD5-999A-D7A2C2D7EC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97720" y="203117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49">
              <a:extLst>
                <a:ext uri="{FF2B5EF4-FFF2-40B4-BE49-F238E27FC236}">
                  <a16:creationId xmlns:a16="http://schemas.microsoft.com/office/drawing/2014/main" id="{19B7C922-7B69-4C64-9CFB-F3140853B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2595" y="1834326"/>
              <a:ext cx="390525" cy="392112"/>
            </a:xfrm>
            <a:custGeom>
              <a:avLst/>
              <a:gdLst>
                <a:gd name="T0" fmla="*/ 221 w 494"/>
                <a:gd name="T1" fmla="*/ 492 h 493"/>
                <a:gd name="T2" fmla="*/ 151 w 494"/>
                <a:gd name="T3" fmla="*/ 473 h 493"/>
                <a:gd name="T4" fmla="*/ 91 w 494"/>
                <a:gd name="T5" fmla="*/ 436 h 493"/>
                <a:gd name="T6" fmla="*/ 42 w 494"/>
                <a:gd name="T7" fmla="*/ 384 h 493"/>
                <a:gd name="T8" fmla="*/ 12 w 494"/>
                <a:gd name="T9" fmla="*/ 320 h 493"/>
                <a:gd name="T10" fmla="*/ 0 w 494"/>
                <a:gd name="T11" fmla="*/ 247 h 493"/>
                <a:gd name="T12" fmla="*/ 5 w 494"/>
                <a:gd name="T13" fmla="*/ 196 h 493"/>
                <a:gd name="T14" fmla="*/ 30 w 494"/>
                <a:gd name="T15" fmla="*/ 128 h 493"/>
                <a:gd name="T16" fmla="*/ 73 w 494"/>
                <a:gd name="T17" fmla="*/ 73 h 493"/>
                <a:gd name="T18" fmla="*/ 129 w 494"/>
                <a:gd name="T19" fmla="*/ 29 h 493"/>
                <a:gd name="T20" fmla="*/ 197 w 494"/>
                <a:gd name="T21" fmla="*/ 5 h 493"/>
                <a:gd name="T22" fmla="*/ 247 w 494"/>
                <a:gd name="T23" fmla="*/ 0 h 493"/>
                <a:gd name="T24" fmla="*/ 320 w 494"/>
                <a:gd name="T25" fmla="*/ 10 h 493"/>
                <a:gd name="T26" fmla="*/ 384 w 494"/>
                <a:gd name="T27" fmla="*/ 41 h 493"/>
                <a:gd name="T28" fmla="*/ 437 w 494"/>
                <a:gd name="T29" fmla="*/ 90 h 493"/>
                <a:gd name="T30" fmla="*/ 475 w 494"/>
                <a:gd name="T31" fmla="*/ 151 h 493"/>
                <a:gd name="T32" fmla="*/ 492 w 494"/>
                <a:gd name="T33" fmla="*/ 220 h 493"/>
                <a:gd name="T34" fmla="*/ 492 w 494"/>
                <a:gd name="T35" fmla="*/ 271 h 493"/>
                <a:gd name="T36" fmla="*/ 475 w 494"/>
                <a:gd name="T37" fmla="*/ 342 h 493"/>
                <a:gd name="T38" fmla="*/ 437 w 494"/>
                <a:gd name="T39" fmla="*/ 403 h 493"/>
                <a:gd name="T40" fmla="*/ 384 w 494"/>
                <a:gd name="T41" fmla="*/ 450 h 493"/>
                <a:gd name="T42" fmla="*/ 320 w 494"/>
                <a:gd name="T43" fmla="*/ 481 h 493"/>
                <a:gd name="T44" fmla="*/ 247 w 494"/>
                <a:gd name="T45" fmla="*/ 493 h 493"/>
                <a:gd name="T46" fmla="*/ 247 w 494"/>
                <a:gd name="T47" fmla="*/ 66 h 493"/>
                <a:gd name="T48" fmla="*/ 193 w 494"/>
                <a:gd name="T49" fmla="*/ 74 h 493"/>
                <a:gd name="T50" fmla="*/ 146 w 494"/>
                <a:gd name="T51" fmla="*/ 97 h 493"/>
                <a:gd name="T52" fmla="*/ 108 w 494"/>
                <a:gd name="T53" fmla="*/ 132 h 493"/>
                <a:gd name="T54" fmla="*/ 80 w 494"/>
                <a:gd name="T55" fmla="*/ 175 h 493"/>
                <a:gd name="T56" fmla="*/ 68 w 494"/>
                <a:gd name="T57" fmla="*/ 227 h 493"/>
                <a:gd name="T58" fmla="*/ 68 w 494"/>
                <a:gd name="T59" fmla="*/ 264 h 493"/>
                <a:gd name="T60" fmla="*/ 80 w 494"/>
                <a:gd name="T61" fmla="*/ 316 h 493"/>
                <a:gd name="T62" fmla="*/ 108 w 494"/>
                <a:gd name="T63" fmla="*/ 361 h 493"/>
                <a:gd name="T64" fmla="*/ 146 w 494"/>
                <a:gd name="T65" fmla="*/ 396 h 493"/>
                <a:gd name="T66" fmla="*/ 193 w 494"/>
                <a:gd name="T67" fmla="*/ 419 h 493"/>
                <a:gd name="T68" fmla="*/ 247 w 494"/>
                <a:gd name="T69" fmla="*/ 427 h 493"/>
                <a:gd name="T70" fmla="*/ 284 w 494"/>
                <a:gd name="T71" fmla="*/ 424 h 493"/>
                <a:gd name="T72" fmla="*/ 332 w 494"/>
                <a:gd name="T73" fmla="*/ 405 h 493"/>
                <a:gd name="T74" fmla="*/ 374 w 494"/>
                <a:gd name="T75" fmla="*/ 373 h 493"/>
                <a:gd name="T76" fmla="*/ 405 w 494"/>
                <a:gd name="T77" fmla="*/ 332 h 493"/>
                <a:gd name="T78" fmla="*/ 424 w 494"/>
                <a:gd name="T79" fmla="*/ 283 h 493"/>
                <a:gd name="T80" fmla="*/ 428 w 494"/>
                <a:gd name="T81" fmla="*/ 247 h 493"/>
                <a:gd name="T82" fmla="*/ 419 w 494"/>
                <a:gd name="T83" fmla="*/ 193 h 493"/>
                <a:gd name="T84" fmla="*/ 397 w 494"/>
                <a:gd name="T85" fmla="*/ 146 h 493"/>
                <a:gd name="T86" fmla="*/ 362 w 494"/>
                <a:gd name="T87" fmla="*/ 107 h 493"/>
                <a:gd name="T88" fmla="*/ 317 w 494"/>
                <a:gd name="T89" fmla="*/ 80 h 493"/>
                <a:gd name="T90" fmla="*/ 266 w 494"/>
                <a:gd name="T91" fmla="*/ 66 h 493"/>
                <a:gd name="T92" fmla="*/ 247 w 494"/>
                <a:gd name="T93" fmla="*/ 66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94" h="493">
                  <a:moveTo>
                    <a:pt x="247" y="493"/>
                  </a:moveTo>
                  <a:lnTo>
                    <a:pt x="247" y="493"/>
                  </a:lnTo>
                  <a:lnTo>
                    <a:pt x="221" y="492"/>
                  </a:lnTo>
                  <a:lnTo>
                    <a:pt x="197" y="488"/>
                  </a:lnTo>
                  <a:lnTo>
                    <a:pt x="174" y="481"/>
                  </a:lnTo>
                  <a:lnTo>
                    <a:pt x="151" y="473"/>
                  </a:lnTo>
                  <a:lnTo>
                    <a:pt x="129" y="462"/>
                  </a:lnTo>
                  <a:lnTo>
                    <a:pt x="110" y="450"/>
                  </a:lnTo>
                  <a:lnTo>
                    <a:pt x="91" y="436"/>
                  </a:lnTo>
                  <a:lnTo>
                    <a:pt x="73" y="420"/>
                  </a:lnTo>
                  <a:lnTo>
                    <a:pt x="58" y="403"/>
                  </a:lnTo>
                  <a:lnTo>
                    <a:pt x="42" y="384"/>
                  </a:lnTo>
                  <a:lnTo>
                    <a:pt x="30" y="363"/>
                  </a:lnTo>
                  <a:lnTo>
                    <a:pt x="19" y="342"/>
                  </a:lnTo>
                  <a:lnTo>
                    <a:pt x="12" y="320"/>
                  </a:lnTo>
                  <a:lnTo>
                    <a:pt x="5" y="295"/>
                  </a:lnTo>
                  <a:lnTo>
                    <a:pt x="2" y="271"/>
                  </a:lnTo>
                  <a:lnTo>
                    <a:pt x="0" y="247"/>
                  </a:lnTo>
                  <a:lnTo>
                    <a:pt x="0" y="247"/>
                  </a:lnTo>
                  <a:lnTo>
                    <a:pt x="2" y="220"/>
                  </a:lnTo>
                  <a:lnTo>
                    <a:pt x="5" y="196"/>
                  </a:lnTo>
                  <a:lnTo>
                    <a:pt x="12" y="173"/>
                  </a:lnTo>
                  <a:lnTo>
                    <a:pt x="19" y="151"/>
                  </a:lnTo>
                  <a:lnTo>
                    <a:pt x="30" y="128"/>
                  </a:lnTo>
                  <a:lnTo>
                    <a:pt x="42" y="109"/>
                  </a:lnTo>
                  <a:lnTo>
                    <a:pt x="58" y="90"/>
                  </a:lnTo>
                  <a:lnTo>
                    <a:pt x="73" y="73"/>
                  </a:lnTo>
                  <a:lnTo>
                    <a:pt x="91" y="55"/>
                  </a:lnTo>
                  <a:lnTo>
                    <a:pt x="110" y="41"/>
                  </a:lnTo>
                  <a:lnTo>
                    <a:pt x="129" y="29"/>
                  </a:lnTo>
                  <a:lnTo>
                    <a:pt x="151" y="19"/>
                  </a:lnTo>
                  <a:lnTo>
                    <a:pt x="174" y="10"/>
                  </a:lnTo>
                  <a:lnTo>
                    <a:pt x="197" y="5"/>
                  </a:lnTo>
                  <a:lnTo>
                    <a:pt x="221" y="1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71" y="1"/>
                  </a:lnTo>
                  <a:lnTo>
                    <a:pt x="296" y="5"/>
                  </a:lnTo>
                  <a:lnTo>
                    <a:pt x="320" y="10"/>
                  </a:lnTo>
                  <a:lnTo>
                    <a:pt x="343" y="19"/>
                  </a:lnTo>
                  <a:lnTo>
                    <a:pt x="364" y="29"/>
                  </a:lnTo>
                  <a:lnTo>
                    <a:pt x="384" y="41"/>
                  </a:lnTo>
                  <a:lnTo>
                    <a:pt x="404" y="55"/>
                  </a:lnTo>
                  <a:lnTo>
                    <a:pt x="421" y="73"/>
                  </a:lnTo>
                  <a:lnTo>
                    <a:pt x="437" y="90"/>
                  </a:lnTo>
                  <a:lnTo>
                    <a:pt x="450" y="109"/>
                  </a:lnTo>
                  <a:lnTo>
                    <a:pt x="464" y="128"/>
                  </a:lnTo>
                  <a:lnTo>
                    <a:pt x="475" y="151"/>
                  </a:lnTo>
                  <a:lnTo>
                    <a:pt x="482" y="173"/>
                  </a:lnTo>
                  <a:lnTo>
                    <a:pt x="489" y="196"/>
                  </a:lnTo>
                  <a:lnTo>
                    <a:pt x="492" y="220"/>
                  </a:lnTo>
                  <a:lnTo>
                    <a:pt x="494" y="247"/>
                  </a:lnTo>
                  <a:lnTo>
                    <a:pt x="494" y="247"/>
                  </a:lnTo>
                  <a:lnTo>
                    <a:pt x="492" y="271"/>
                  </a:lnTo>
                  <a:lnTo>
                    <a:pt x="489" y="295"/>
                  </a:lnTo>
                  <a:lnTo>
                    <a:pt x="482" y="320"/>
                  </a:lnTo>
                  <a:lnTo>
                    <a:pt x="475" y="342"/>
                  </a:lnTo>
                  <a:lnTo>
                    <a:pt x="464" y="363"/>
                  </a:lnTo>
                  <a:lnTo>
                    <a:pt x="450" y="384"/>
                  </a:lnTo>
                  <a:lnTo>
                    <a:pt x="437" y="403"/>
                  </a:lnTo>
                  <a:lnTo>
                    <a:pt x="421" y="420"/>
                  </a:lnTo>
                  <a:lnTo>
                    <a:pt x="404" y="436"/>
                  </a:lnTo>
                  <a:lnTo>
                    <a:pt x="384" y="450"/>
                  </a:lnTo>
                  <a:lnTo>
                    <a:pt x="364" y="462"/>
                  </a:lnTo>
                  <a:lnTo>
                    <a:pt x="343" y="473"/>
                  </a:lnTo>
                  <a:lnTo>
                    <a:pt x="320" y="481"/>
                  </a:lnTo>
                  <a:lnTo>
                    <a:pt x="296" y="488"/>
                  </a:lnTo>
                  <a:lnTo>
                    <a:pt x="271" y="492"/>
                  </a:lnTo>
                  <a:lnTo>
                    <a:pt x="247" y="493"/>
                  </a:lnTo>
                  <a:lnTo>
                    <a:pt x="247" y="493"/>
                  </a:lnTo>
                  <a:close/>
                  <a:moveTo>
                    <a:pt x="247" y="66"/>
                  </a:moveTo>
                  <a:lnTo>
                    <a:pt x="247" y="66"/>
                  </a:lnTo>
                  <a:lnTo>
                    <a:pt x="228" y="66"/>
                  </a:lnTo>
                  <a:lnTo>
                    <a:pt x="211" y="69"/>
                  </a:lnTo>
                  <a:lnTo>
                    <a:pt x="193" y="74"/>
                  </a:lnTo>
                  <a:lnTo>
                    <a:pt x="178" y="80"/>
                  </a:lnTo>
                  <a:lnTo>
                    <a:pt x="160" y="87"/>
                  </a:lnTo>
                  <a:lnTo>
                    <a:pt x="146" y="97"/>
                  </a:lnTo>
                  <a:lnTo>
                    <a:pt x="132" y="107"/>
                  </a:lnTo>
                  <a:lnTo>
                    <a:pt x="120" y="118"/>
                  </a:lnTo>
                  <a:lnTo>
                    <a:pt x="108" y="132"/>
                  </a:lnTo>
                  <a:lnTo>
                    <a:pt x="98" y="146"/>
                  </a:lnTo>
                  <a:lnTo>
                    <a:pt x="89" y="160"/>
                  </a:lnTo>
                  <a:lnTo>
                    <a:pt x="80" y="175"/>
                  </a:lnTo>
                  <a:lnTo>
                    <a:pt x="75" y="193"/>
                  </a:lnTo>
                  <a:lnTo>
                    <a:pt x="70" y="210"/>
                  </a:lnTo>
                  <a:lnTo>
                    <a:pt x="68" y="22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8" y="264"/>
                  </a:lnTo>
                  <a:lnTo>
                    <a:pt x="70" y="283"/>
                  </a:lnTo>
                  <a:lnTo>
                    <a:pt x="75" y="300"/>
                  </a:lnTo>
                  <a:lnTo>
                    <a:pt x="80" y="316"/>
                  </a:lnTo>
                  <a:lnTo>
                    <a:pt x="89" y="332"/>
                  </a:lnTo>
                  <a:lnTo>
                    <a:pt x="98" y="347"/>
                  </a:lnTo>
                  <a:lnTo>
                    <a:pt x="108" y="361"/>
                  </a:lnTo>
                  <a:lnTo>
                    <a:pt x="120" y="373"/>
                  </a:lnTo>
                  <a:lnTo>
                    <a:pt x="132" y="386"/>
                  </a:lnTo>
                  <a:lnTo>
                    <a:pt x="146" y="396"/>
                  </a:lnTo>
                  <a:lnTo>
                    <a:pt x="160" y="405"/>
                  </a:lnTo>
                  <a:lnTo>
                    <a:pt x="178" y="412"/>
                  </a:lnTo>
                  <a:lnTo>
                    <a:pt x="193" y="419"/>
                  </a:lnTo>
                  <a:lnTo>
                    <a:pt x="211" y="424"/>
                  </a:lnTo>
                  <a:lnTo>
                    <a:pt x="228" y="426"/>
                  </a:lnTo>
                  <a:lnTo>
                    <a:pt x="247" y="427"/>
                  </a:lnTo>
                  <a:lnTo>
                    <a:pt x="247" y="427"/>
                  </a:lnTo>
                  <a:lnTo>
                    <a:pt x="266" y="426"/>
                  </a:lnTo>
                  <a:lnTo>
                    <a:pt x="284" y="424"/>
                  </a:lnTo>
                  <a:lnTo>
                    <a:pt x="301" y="419"/>
                  </a:lnTo>
                  <a:lnTo>
                    <a:pt x="317" y="412"/>
                  </a:lnTo>
                  <a:lnTo>
                    <a:pt x="332" y="405"/>
                  </a:lnTo>
                  <a:lnTo>
                    <a:pt x="348" y="396"/>
                  </a:lnTo>
                  <a:lnTo>
                    <a:pt x="362" y="386"/>
                  </a:lnTo>
                  <a:lnTo>
                    <a:pt x="374" y="373"/>
                  </a:lnTo>
                  <a:lnTo>
                    <a:pt x="386" y="361"/>
                  </a:lnTo>
                  <a:lnTo>
                    <a:pt x="397" y="347"/>
                  </a:lnTo>
                  <a:lnTo>
                    <a:pt x="405" y="332"/>
                  </a:lnTo>
                  <a:lnTo>
                    <a:pt x="414" y="316"/>
                  </a:lnTo>
                  <a:lnTo>
                    <a:pt x="419" y="300"/>
                  </a:lnTo>
                  <a:lnTo>
                    <a:pt x="424" y="283"/>
                  </a:lnTo>
                  <a:lnTo>
                    <a:pt x="426" y="264"/>
                  </a:lnTo>
                  <a:lnTo>
                    <a:pt x="428" y="247"/>
                  </a:lnTo>
                  <a:lnTo>
                    <a:pt x="428" y="247"/>
                  </a:lnTo>
                  <a:lnTo>
                    <a:pt x="426" y="227"/>
                  </a:lnTo>
                  <a:lnTo>
                    <a:pt x="424" y="210"/>
                  </a:lnTo>
                  <a:lnTo>
                    <a:pt x="419" y="193"/>
                  </a:lnTo>
                  <a:lnTo>
                    <a:pt x="414" y="175"/>
                  </a:lnTo>
                  <a:lnTo>
                    <a:pt x="405" y="160"/>
                  </a:lnTo>
                  <a:lnTo>
                    <a:pt x="397" y="146"/>
                  </a:lnTo>
                  <a:lnTo>
                    <a:pt x="386" y="132"/>
                  </a:lnTo>
                  <a:lnTo>
                    <a:pt x="374" y="118"/>
                  </a:lnTo>
                  <a:lnTo>
                    <a:pt x="362" y="107"/>
                  </a:lnTo>
                  <a:lnTo>
                    <a:pt x="348" y="97"/>
                  </a:lnTo>
                  <a:lnTo>
                    <a:pt x="332" y="87"/>
                  </a:lnTo>
                  <a:lnTo>
                    <a:pt x="317" y="80"/>
                  </a:lnTo>
                  <a:lnTo>
                    <a:pt x="301" y="74"/>
                  </a:lnTo>
                  <a:lnTo>
                    <a:pt x="284" y="69"/>
                  </a:lnTo>
                  <a:lnTo>
                    <a:pt x="266" y="66"/>
                  </a:lnTo>
                  <a:lnTo>
                    <a:pt x="247" y="66"/>
                  </a:lnTo>
                  <a:lnTo>
                    <a:pt x="247" y="66"/>
                  </a:lnTo>
                  <a:close/>
                  <a:moveTo>
                    <a:pt x="247" y="66"/>
                  </a:moveTo>
                  <a:lnTo>
                    <a:pt x="247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50">
              <a:extLst>
                <a:ext uri="{FF2B5EF4-FFF2-40B4-BE49-F238E27FC236}">
                  <a16:creationId xmlns:a16="http://schemas.microsoft.com/office/drawing/2014/main" id="{B5480223-038E-4448-824F-62099235B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95" y="1834326"/>
              <a:ext cx="390525" cy="392112"/>
            </a:xfrm>
            <a:custGeom>
              <a:avLst/>
              <a:gdLst>
                <a:gd name="T0" fmla="*/ 247 w 494"/>
                <a:gd name="T1" fmla="*/ 493 h 493"/>
                <a:gd name="T2" fmla="*/ 197 w 494"/>
                <a:gd name="T3" fmla="*/ 488 h 493"/>
                <a:gd name="T4" fmla="*/ 151 w 494"/>
                <a:gd name="T5" fmla="*/ 473 h 493"/>
                <a:gd name="T6" fmla="*/ 110 w 494"/>
                <a:gd name="T7" fmla="*/ 450 h 493"/>
                <a:gd name="T8" fmla="*/ 73 w 494"/>
                <a:gd name="T9" fmla="*/ 420 h 493"/>
                <a:gd name="T10" fmla="*/ 42 w 494"/>
                <a:gd name="T11" fmla="*/ 384 h 493"/>
                <a:gd name="T12" fmla="*/ 19 w 494"/>
                <a:gd name="T13" fmla="*/ 342 h 493"/>
                <a:gd name="T14" fmla="*/ 5 w 494"/>
                <a:gd name="T15" fmla="*/ 295 h 493"/>
                <a:gd name="T16" fmla="*/ 0 w 494"/>
                <a:gd name="T17" fmla="*/ 247 h 493"/>
                <a:gd name="T18" fmla="*/ 2 w 494"/>
                <a:gd name="T19" fmla="*/ 220 h 493"/>
                <a:gd name="T20" fmla="*/ 12 w 494"/>
                <a:gd name="T21" fmla="*/ 173 h 493"/>
                <a:gd name="T22" fmla="*/ 30 w 494"/>
                <a:gd name="T23" fmla="*/ 128 h 493"/>
                <a:gd name="T24" fmla="*/ 58 w 494"/>
                <a:gd name="T25" fmla="*/ 90 h 493"/>
                <a:gd name="T26" fmla="*/ 91 w 494"/>
                <a:gd name="T27" fmla="*/ 55 h 493"/>
                <a:gd name="T28" fmla="*/ 129 w 494"/>
                <a:gd name="T29" fmla="*/ 29 h 493"/>
                <a:gd name="T30" fmla="*/ 174 w 494"/>
                <a:gd name="T31" fmla="*/ 10 h 493"/>
                <a:gd name="T32" fmla="*/ 221 w 494"/>
                <a:gd name="T33" fmla="*/ 1 h 493"/>
                <a:gd name="T34" fmla="*/ 247 w 494"/>
                <a:gd name="T35" fmla="*/ 0 h 493"/>
                <a:gd name="T36" fmla="*/ 296 w 494"/>
                <a:gd name="T37" fmla="*/ 5 h 493"/>
                <a:gd name="T38" fmla="*/ 343 w 494"/>
                <a:gd name="T39" fmla="*/ 19 h 493"/>
                <a:gd name="T40" fmla="*/ 384 w 494"/>
                <a:gd name="T41" fmla="*/ 41 h 493"/>
                <a:gd name="T42" fmla="*/ 421 w 494"/>
                <a:gd name="T43" fmla="*/ 73 h 493"/>
                <a:gd name="T44" fmla="*/ 450 w 494"/>
                <a:gd name="T45" fmla="*/ 109 h 493"/>
                <a:gd name="T46" fmla="*/ 475 w 494"/>
                <a:gd name="T47" fmla="*/ 151 h 493"/>
                <a:gd name="T48" fmla="*/ 489 w 494"/>
                <a:gd name="T49" fmla="*/ 196 h 493"/>
                <a:gd name="T50" fmla="*/ 494 w 494"/>
                <a:gd name="T51" fmla="*/ 247 h 493"/>
                <a:gd name="T52" fmla="*/ 492 w 494"/>
                <a:gd name="T53" fmla="*/ 271 h 493"/>
                <a:gd name="T54" fmla="*/ 482 w 494"/>
                <a:gd name="T55" fmla="*/ 320 h 493"/>
                <a:gd name="T56" fmla="*/ 464 w 494"/>
                <a:gd name="T57" fmla="*/ 363 h 493"/>
                <a:gd name="T58" fmla="*/ 437 w 494"/>
                <a:gd name="T59" fmla="*/ 403 h 493"/>
                <a:gd name="T60" fmla="*/ 404 w 494"/>
                <a:gd name="T61" fmla="*/ 436 h 493"/>
                <a:gd name="T62" fmla="*/ 364 w 494"/>
                <a:gd name="T63" fmla="*/ 462 h 493"/>
                <a:gd name="T64" fmla="*/ 320 w 494"/>
                <a:gd name="T65" fmla="*/ 481 h 493"/>
                <a:gd name="T66" fmla="*/ 271 w 494"/>
                <a:gd name="T67" fmla="*/ 492 h 493"/>
                <a:gd name="T68" fmla="*/ 247 w 494"/>
                <a:gd name="T69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4" h="493">
                  <a:moveTo>
                    <a:pt x="247" y="493"/>
                  </a:moveTo>
                  <a:lnTo>
                    <a:pt x="247" y="493"/>
                  </a:lnTo>
                  <a:lnTo>
                    <a:pt x="221" y="492"/>
                  </a:lnTo>
                  <a:lnTo>
                    <a:pt x="197" y="488"/>
                  </a:lnTo>
                  <a:lnTo>
                    <a:pt x="174" y="481"/>
                  </a:lnTo>
                  <a:lnTo>
                    <a:pt x="151" y="473"/>
                  </a:lnTo>
                  <a:lnTo>
                    <a:pt x="129" y="462"/>
                  </a:lnTo>
                  <a:lnTo>
                    <a:pt x="110" y="450"/>
                  </a:lnTo>
                  <a:lnTo>
                    <a:pt x="91" y="436"/>
                  </a:lnTo>
                  <a:lnTo>
                    <a:pt x="73" y="420"/>
                  </a:lnTo>
                  <a:lnTo>
                    <a:pt x="58" y="403"/>
                  </a:lnTo>
                  <a:lnTo>
                    <a:pt x="42" y="384"/>
                  </a:lnTo>
                  <a:lnTo>
                    <a:pt x="30" y="363"/>
                  </a:lnTo>
                  <a:lnTo>
                    <a:pt x="19" y="342"/>
                  </a:lnTo>
                  <a:lnTo>
                    <a:pt x="12" y="320"/>
                  </a:lnTo>
                  <a:lnTo>
                    <a:pt x="5" y="295"/>
                  </a:lnTo>
                  <a:lnTo>
                    <a:pt x="2" y="271"/>
                  </a:lnTo>
                  <a:lnTo>
                    <a:pt x="0" y="247"/>
                  </a:lnTo>
                  <a:lnTo>
                    <a:pt x="0" y="247"/>
                  </a:lnTo>
                  <a:lnTo>
                    <a:pt x="2" y="220"/>
                  </a:lnTo>
                  <a:lnTo>
                    <a:pt x="5" y="196"/>
                  </a:lnTo>
                  <a:lnTo>
                    <a:pt x="12" y="173"/>
                  </a:lnTo>
                  <a:lnTo>
                    <a:pt x="19" y="151"/>
                  </a:lnTo>
                  <a:lnTo>
                    <a:pt x="30" y="128"/>
                  </a:lnTo>
                  <a:lnTo>
                    <a:pt x="42" y="109"/>
                  </a:lnTo>
                  <a:lnTo>
                    <a:pt x="58" y="90"/>
                  </a:lnTo>
                  <a:lnTo>
                    <a:pt x="73" y="73"/>
                  </a:lnTo>
                  <a:lnTo>
                    <a:pt x="91" y="55"/>
                  </a:lnTo>
                  <a:lnTo>
                    <a:pt x="110" y="41"/>
                  </a:lnTo>
                  <a:lnTo>
                    <a:pt x="129" y="29"/>
                  </a:lnTo>
                  <a:lnTo>
                    <a:pt x="151" y="19"/>
                  </a:lnTo>
                  <a:lnTo>
                    <a:pt x="174" y="10"/>
                  </a:lnTo>
                  <a:lnTo>
                    <a:pt x="197" y="5"/>
                  </a:lnTo>
                  <a:lnTo>
                    <a:pt x="221" y="1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71" y="1"/>
                  </a:lnTo>
                  <a:lnTo>
                    <a:pt x="296" y="5"/>
                  </a:lnTo>
                  <a:lnTo>
                    <a:pt x="320" y="10"/>
                  </a:lnTo>
                  <a:lnTo>
                    <a:pt x="343" y="19"/>
                  </a:lnTo>
                  <a:lnTo>
                    <a:pt x="364" y="29"/>
                  </a:lnTo>
                  <a:lnTo>
                    <a:pt x="384" y="41"/>
                  </a:lnTo>
                  <a:lnTo>
                    <a:pt x="404" y="55"/>
                  </a:lnTo>
                  <a:lnTo>
                    <a:pt x="421" y="73"/>
                  </a:lnTo>
                  <a:lnTo>
                    <a:pt x="437" y="90"/>
                  </a:lnTo>
                  <a:lnTo>
                    <a:pt x="450" y="109"/>
                  </a:lnTo>
                  <a:lnTo>
                    <a:pt x="464" y="128"/>
                  </a:lnTo>
                  <a:lnTo>
                    <a:pt x="475" y="151"/>
                  </a:lnTo>
                  <a:lnTo>
                    <a:pt x="482" y="173"/>
                  </a:lnTo>
                  <a:lnTo>
                    <a:pt x="489" y="196"/>
                  </a:lnTo>
                  <a:lnTo>
                    <a:pt x="492" y="220"/>
                  </a:lnTo>
                  <a:lnTo>
                    <a:pt x="494" y="247"/>
                  </a:lnTo>
                  <a:lnTo>
                    <a:pt x="494" y="247"/>
                  </a:lnTo>
                  <a:lnTo>
                    <a:pt x="492" y="271"/>
                  </a:lnTo>
                  <a:lnTo>
                    <a:pt x="489" y="295"/>
                  </a:lnTo>
                  <a:lnTo>
                    <a:pt x="482" y="320"/>
                  </a:lnTo>
                  <a:lnTo>
                    <a:pt x="475" y="342"/>
                  </a:lnTo>
                  <a:lnTo>
                    <a:pt x="464" y="363"/>
                  </a:lnTo>
                  <a:lnTo>
                    <a:pt x="450" y="384"/>
                  </a:lnTo>
                  <a:lnTo>
                    <a:pt x="437" y="403"/>
                  </a:lnTo>
                  <a:lnTo>
                    <a:pt x="421" y="420"/>
                  </a:lnTo>
                  <a:lnTo>
                    <a:pt x="404" y="436"/>
                  </a:lnTo>
                  <a:lnTo>
                    <a:pt x="384" y="450"/>
                  </a:lnTo>
                  <a:lnTo>
                    <a:pt x="364" y="462"/>
                  </a:lnTo>
                  <a:lnTo>
                    <a:pt x="343" y="473"/>
                  </a:lnTo>
                  <a:lnTo>
                    <a:pt x="320" y="481"/>
                  </a:lnTo>
                  <a:lnTo>
                    <a:pt x="296" y="488"/>
                  </a:lnTo>
                  <a:lnTo>
                    <a:pt x="271" y="492"/>
                  </a:lnTo>
                  <a:lnTo>
                    <a:pt x="247" y="493"/>
                  </a:lnTo>
                  <a:lnTo>
                    <a:pt x="247" y="49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51">
              <a:extLst>
                <a:ext uri="{FF2B5EF4-FFF2-40B4-BE49-F238E27FC236}">
                  <a16:creationId xmlns:a16="http://schemas.microsoft.com/office/drawing/2014/main" id="{BD334D8F-448A-4839-B04C-4407804CEC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982" y="1886713"/>
              <a:ext cx="285750" cy="287337"/>
            </a:xfrm>
            <a:custGeom>
              <a:avLst/>
              <a:gdLst>
                <a:gd name="T0" fmla="*/ 181 w 362"/>
                <a:gd name="T1" fmla="*/ 0 h 361"/>
                <a:gd name="T2" fmla="*/ 145 w 362"/>
                <a:gd name="T3" fmla="*/ 3 h 361"/>
                <a:gd name="T4" fmla="*/ 112 w 362"/>
                <a:gd name="T5" fmla="*/ 14 h 361"/>
                <a:gd name="T6" fmla="*/ 80 w 362"/>
                <a:gd name="T7" fmla="*/ 31 h 361"/>
                <a:gd name="T8" fmla="*/ 54 w 362"/>
                <a:gd name="T9" fmla="*/ 52 h 361"/>
                <a:gd name="T10" fmla="*/ 32 w 362"/>
                <a:gd name="T11" fmla="*/ 80 h 361"/>
                <a:gd name="T12" fmla="*/ 14 w 362"/>
                <a:gd name="T13" fmla="*/ 109 h 361"/>
                <a:gd name="T14" fmla="*/ 4 w 362"/>
                <a:gd name="T15" fmla="*/ 144 h 361"/>
                <a:gd name="T16" fmla="*/ 0 w 362"/>
                <a:gd name="T17" fmla="*/ 181 h 361"/>
                <a:gd name="T18" fmla="*/ 2 w 362"/>
                <a:gd name="T19" fmla="*/ 198 h 361"/>
                <a:gd name="T20" fmla="*/ 9 w 362"/>
                <a:gd name="T21" fmla="*/ 234 h 361"/>
                <a:gd name="T22" fmla="*/ 23 w 362"/>
                <a:gd name="T23" fmla="*/ 266 h 361"/>
                <a:gd name="T24" fmla="*/ 42 w 362"/>
                <a:gd name="T25" fmla="*/ 295 h 361"/>
                <a:gd name="T26" fmla="*/ 66 w 362"/>
                <a:gd name="T27" fmla="*/ 320 h 361"/>
                <a:gd name="T28" fmla="*/ 94 w 362"/>
                <a:gd name="T29" fmla="*/ 339 h 361"/>
                <a:gd name="T30" fmla="*/ 127 w 362"/>
                <a:gd name="T31" fmla="*/ 353 h 361"/>
                <a:gd name="T32" fmla="*/ 162 w 362"/>
                <a:gd name="T33" fmla="*/ 360 h 361"/>
                <a:gd name="T34" fmla="*/ 181 w 362"/>
                <a:gd name="T35" fmla="*/ 361 h 361"/>
                <a:gd name="T36" fmla="*/ 218 w 362"/>
                <a:gd name="T37" fmla="*/ 358 h 361"/>
                <a:gd name="T38" fmla="*/ 251 w 362"/>
                <a:gd name="T39" fmla="*/ 346 h 361"/>
                <a:gd name="T40" fmla="*/ 282 w 362"/>
                <a:gd name="T41" fmla="*/ 330 h 361"/>
                <a:gd name="T42" fmla="*/ 308 w 362"/>
                <a:gd name="T43" fmla="*/ 307 h 361"/>
                <a:gd name="T44" fmla="*/ 331 w 362"/>
                <a:gd name="T45" fmla="*/ 281 h 361"/>
                <a:gd name="T46" fmla="*/ 348 w 362"/>
                <a:gd name="T47" fmla="*/ 250 h 361"/>
                <a:gd name="T48" fmla="*/ 358 w 362"/>
                <a:gd name="T49" fmla="*/ 217 h 361"/>
                <a:gd name="T50" fmla="*/ 362 w 362"/>
                <a:gd name="T51" fmla="*/ 181 h 361"/>
                <a:gd name="T52" fmla="*/ 360 w 362"/>
                <a:gd name="T53" fmla="*/ 161 h 361"/>
                <a:gd name="T54" fmla="*/ 353 w 362"/>
                <a:gd name="T55" fmla="*/ 127 h 361"/>
                <a:gd name="T56" fmla="*/ 339 w 362"/>
                <a:gd name="T57" fmla="*/ 94 h 361"/>
                <a:gd name="T58" fmla="*/ 320 w 362"/>
                <a:gd name="T59" fmla="*/ 66 h 361"/>
                <a:gd name="T60" fmla="*/ 296 w 362"/>
                <a:gd name="T61" fmla="*/ 41 h 361"/>
                <a:gd name="T62" fmla="*/ 266 w 362"/>
                <a:gd name="T63" fmla="*/ 21 h 361"/>
                <a:gd name="T64" fmla="*/ 235 w 362"/>
                <a:gd name="T65" fmla="*/ 8 h 361"/>
                <a:gd name="T66" fmla="*/ 200 w 362"/>
                <a:gd name="T67" fmla="*/ 0 h 361"/>
                <a:gd name="T68" fmla="*/ 181 w 362"/>
                <a:gd name="T69" fmla="*/ 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61">
                  <a:moveTo>
                    <a:pt x="181" y="0"/>
                  </a:moveTo>
                  <a:lnTo>
                    <a:pt x="181" y="0"/>
                  </a:lnTo>
                  <a:lnTo>
                    <a:pt x="162" y="0"/>
                  </a:lnTo>
                  <a:lnTo>
                    <a:pt x="145" y="3"/>
                  </a:lnTo>
                  <a:lnTo>
                    <a:pt x="127" y="8"/>
                  </a:lnTo>
                  <a:lnTo>
                    <a:pt x="112" y="14"/>
                  </a:lnTo>
                  <a:lnTo>
                    <a:pt x="94" y="21"/>
                  </a:lnTo>
                  <a:lnTo>
                    <a:pt x="80" y="31"/>
                  </a:lnTo>
                  <a:lnTo>
                    <a:pt x="66" y="41"/>
                  </a:lnTo>
                  <a:lnTo>
                    <a:pt x="54" y="52"/>
                  </a:lnTo>
                  <a:lnTo>
                    <a:pt x="42" y="66"/>
                  </a:lnTo>
                  <a:lnTo>
                    <a:pt x="32" y="80"/>
                  </a:lnTo>
                  <a:lnTo>
                    <a:pt x="23" y="94"/>
                  </a:lnTo>
                  <a:lnTo>
                    <a:pt x="14" y="109"/>
                  </a:lnTo>
                  <a:lnTo>
                    <a:pt x="9" y="127"/>
                  </a:lnTo>
                  <a:lnTo>
                    <a:pt x="4" y="144"/>
                  </a:lnTo>
                  <a:lnTo>
                    <a:pt x="2" y="161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2" y="198"/>
                  </a:lnTo>
                  <a:lnTo>
                    <a:pt x="4" y="217"/>
                  </a:lnTo>
                  <a:lnTo>
                    <a:pt x="9" y="234"/>
                  </a:lnTo>
                  <a:lnTo>
                    <a:pt x="14" y="250"/>
                  </a:lnTo>
                  <a:lnTo>
                    <a:pt x="23" y="266"/>
                  </a:lnTo>
                  <a:lnTo>
                    <a:pt x="32" y="281"/>
                  </a:lnTo>
                  <a:lnTo>
                    <a:pt x="42" y="295"/>
                  </a:lnTo>
                  <a:lnTo>
                    <a:pt x="54" y="307"/>
                  </a:lnTo>
                  <a:lnTo>
                    <a:pt x="66" y="320"/>
                  </a:lnTo>
                  <a:lnTo>
                    <a:pt x="80" y="330"/>
                  </a:lnTo>
                  <a:lnTo>
                    <a:pt x="94" y="339"/>
                  </a:lnTo>
                  <a:lnTo>
                    <a:pt x="112" y="346"/>
                  </a:lnTo>
                  <a:lnTo>
                    <a:pt x="127" y="353"/>
                  </a:lnTo>
                  <a:lnTo>
                    <a:pt x="145" y="358"/>
                  </a:lnTo>
                  <a:lnTo>
                    <a:pt x="162" y="360"/>
                  </a:lnTo>
                  <a:lnTo>
                    <a:pt x="181" y="361"/>
                  </a:lnTo>
                  <a:lnTo>
                    <a:pt x="181" y="361"/>
                  </a:lnTo>
                  <a:lnTo>
                    <a:pt x="200" y="360"/>
                  </a:lnTo>
                  <a:lnTo>
                    <a:pt x="218" y="358"/>
                  </a:lnTo>
                  <a:lnTo>
                    <a:pt x="235" y="353"/>
                  </a:lnTo>
                  <a:lnTo>
                    <a:pt x="251" y="346"/>
                  </a:lnTo>
                  <a:lnTo>
                    <a:pt x="266" y="339"/>
                  </a:lnTo>
                  <a:lnTo>
                    <a:pt x="282" y="330"/>
                  </a:lnTo>
                  <a:lnTo>
                    <a:pt x="296" y="320"/>
                  </a:lnTo>
                  <a:lnTo>
                    <a:pt x="308" y="307"/>
                  </a:lnTo>
                  <a:lnTo>
                    <a:pt x="320" y="295"/>
                  </a:lnTo>
                  <a:lnTo>
                    <a:pt x="331" y="281"/>
                  </a:lnTo>
                  <a:lnTo>
                    <a:pt x="339" y="266"/>
                  </a:lnTo>
                  <a:lnTo>
                    <a:pt x="348" y="250"/>
                  </a:lnTo>
                  <a:lnTo>
                    <a:pt x="353" y="234"/>
                  </a:lnTo>
                  <a:lnTo>
                    <a:pt x="358" y="217"/>
                  </a:lnTo>
                  <a:lnTo>
                    <a:pt x="360" y="198"/>
                  </a:lnTo>
                  <a:lnTo>
                    <a:pt x="362" y="181"/>
                  </a:lnTo>
                  <a:lnTo>
                    <a:pt x="362" y="181"/>
                  </a:lnTo>
                  <a:lnTo>
                    <a:pt x="360" y="161"/>
                  </a:lnTo>
                  <a:lnTo>
                    <a:pt x="358" y="144"/>
                  </a:lnTo>
                  <a:lnTo>
                    <a:pt x="353" y="127"/>
                  </a:lnTo>
                  <a:lnTo>
                    <a:pt x="348" y="109"/>
                  </a:lnTo>
                  <a:lnTo>
                    <a:pt x="339" y="94"/>
                  </a:lnTo>
                  <a:lnTo>
                    <a:pt x="331" y="80"/>
                  </a:lnTo>
                  <a:lnTo>
                    <a:pt x="320" y="66"/>
                  </a:lnTo>
                  <a:lnTo>
                    <a:pt x="308" y="52"/>
                  </a:lnTo>
                  <a:lnTo>
                    <a:pt x="296" y="41"/>
                  </a:lnTo>
                  <a:lnTo>
                    <a:pt x="282" y="31"/>
                  </a:lnTo>
                  <a:lnTo>
                    <a:pt x="266" y="21"/>
                  </a:lnTo>
                  <a:lnTo>
                    <a:pt x="251" y="14"/>
                  </a:lnTo>
                  <a:lnTo>
                    <a:pt x="235" y="8"/>
                  </a:lnTo>
                  <a:lnTo>
                    <a:pt x="218" y="3"/>
                  </a:lnTo>
                  <a:lnTo>
                    <a:pt x="200" y="0"/>
                  </a:lnTo>
                  <a:lnTo>
                    <a:pt x="181" y="0"/>
                  </a:lnTo>
                  <a:lnTo>
                    <a:pt x="181" y="0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Line 52">
              <a:extLst>
                <a:ext uri="{FF2B5EF4-FFF2-40B4-BE49-F238E27FC236}">
                  <a16:creationId xmlns:a16="http://schemas.microsoft.com/office/drawing/2014/main" id="{84E689AC-832E-4645-AB03-81D5743A55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7857" y="188671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53">
              <a:extLst>
                <a:ext uri="{FF2B5EF4-FFF2-40B4-BE49-F238E27FC236}">
                  <a16:creationId xmlns:a16="http://schemas.microsoft.com/office/drawing/2014/main" id="{80C605EC-BFC2-420F-9068-6362614F6A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7682" y="1324738"/>
              <a:ext cx="258762" cy="395287"/>
            </a:xfrm>
            <a:custGeom>
              <a:avLst/>
              <a:gdLst>
                <a:gd name="T0" fmla="*/ 163 w 325"/>
                <a:gd name="T1" fmla="*/ 499 h 499"/>
                <a:gd name="T2" fmla="*/ 175 w 325"/>
                <a:gd name="T3" fmla="*/ 496 h 499"/>
                <a:gd name="T4" fmla="*/ 186 w 325"/>
                <a:gd name="T5" fmla="*/ 489 h 499"/>
                <a:gd name="T6" fmla="*/ 193 w 325"/>
                <a:gd name="T7" fmla="*/ 478 h 499"/>
                <a:gd name="T8" fmla="*/ 196 w 325"/>
                <a:gd name="T9" fmla="*/ 466 h 499"/>
                <a:gd name="T10" fmla="*/ 269 w 325"/>
                <a:gd name="T11" fmla="*/ 186 h 499"/>
                <a:gd name="T12" fmla="*/ 274 w 325"/>
                <a:gd name="T13" fmla="*/ 190 h 499"/>
                <a:gd name="T14" fmla="*/ 287 w 325"/>
                <a:gd name="T15" fmla="*/ 195 h 499"/>
                <a:gd name="T16" fmla="*/ 293 w 325"/>
                <a:gd name="T17" fmla="*/ 195 h 499"/>
                <a:gd name="T18" fmla="*/ 306 w 325"/>
                <a:gd name="T19" fmla="*/ 193 h 499"/>
                <a:gd name="T20" fmla="*/ 316 w 325"/>
                <a:gd name="T21" fmla="*/ 186 h 499"/>
                <a:gd name="T22" fmla="*/ 320 w 325"/>
                <a:gd name="T23" fmla="*/ 181 h 499"/>
                <a:gd name="T24" fmla="*/ 325 w 325"/>
                <a:gd name="T25" fmla="*/ 169 h 499"/>
                <a:gd name="T26" fmla="*/ 325 w 325"/>
                <a:gd name="T27" fmla="*/ 157 h 499"/>
                <a:gd name="T28" fmla="*/ 320 w 325"/>
                <a:gd name="T29" fmla="*/ 144 h 499"/>
                <a:gd name="T30" fmla="*/ 186 w 325"/>
                <a:gd name="T31" fmla="*/ 9 h 499"/>
                <a:gd name="T32" fmla="*/ 180 w 325"/>
                <a:gd name="T33" fmla="*/ 5 h 499"/>
                <a:gd name="T34" fmla="*/ 170 w 325"/>
                <a:gd name="T35" fmla="*/ 0 h 499"/>
                <a:gd name="T36" fmla="*/ 156 w 325"/>
                <a:gd name="T37" fmla="*/ 0 h 499"/>
                <a:gd name="T38" fmla="*/ 146 w 325"/>
                <a:gd name="T39" fmla="*/ 5 h 499"/>
                <a:gd name="T40" fmla="*/ 10 w 325"/>
                <a:gd name="T41" fmla="*/ 139 h 499"/>
                <a:gd name="T42" fmla="*/ 7 w 325"/>
                <a:gd name="T43" fmla="*/ 144 h 499"/>
                <a:gd name="T44" fmla="*/ 1 w 325"/>
                <a:gd name="T45" fmla="*/ 157 h 499"/>
                <a:gd name="T46" fmla="*/ 1 w 325"/>
                <a:gd name="T47" fmla="*/ 169 h 499"/>
                <a:gd name="T48" fmla="*/ 7 w 325"/>
                <a:gd name="T49" fmla="*/ 181 h 499"/>
                <a:gd name="T50" fmla="*/ 10 w 325"/>
                <a:gd name="T51" fmla="*/ 186 h 499"/>
                <a:gd name="T52" fmla="*/ 21 w 325"/>
                <a:gd name="T53" fmla="*/ 193 h 499"/>
                <a:gd name="T54" fmla="*/ 33 w 325"/>
                <a:gd name="T55" fmla="*/ 195 h 499"/>
                <a:gd name="T56" fmla="*/ 45 w 325"/>
                <a:gd name="T57" fmla="*/ 193 h 499"/>
                <a:gd name="T58" fmla="*/ 57 w 325"/>
                <a:gd name="T59" fmla="*/ 186 h 499"/>
                <a:gd name="T60" fmla="*/ 130 w 325"/>
                <a:gd name="T61" fmla="*/ 466 h 499"/>
                <a:gd name="T62" fmla="*/ 130 w 325"/>
                <a:gd name="T63" fmla="*/ 473 h 499"/>
                <a:gd name="T64" fmla="*/ 135 w 325"/>
                <a:gd name="T65" fmla="*/ 485 h 499"/>
                <a:gd name="T66" fmla="*/ 144 w 325"/>
                <a:gd name="T67" fmla="*/ 494 h 499"/>
                <a:gd name="T68" fmla="*/ 156 w 325"/>
                <a:gd name="T69" fmla="*/ 497 h 499"/>
                <a:gd name="T70" fmla="*/ 163 w 325"/>
                <a:gd name="T71" fmla="*/ 499 h 499"/>
                <a:gd name="T72" fmla="*/ 163 w 325"/>
                <a:gd name="T73" fmla="*/ 499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5" h="499">
                  <a:moveTo>
                    <a:pt x="163" y="499"/>
                  </a:moveTo>
                  <a:lnTo>
                    <a:pt x="163" y="499"/>
                  </a:lnTo>
                  <a:lnTo>
                    <a:pt x="170" y="497"/>
                  </a:lnTo>
                  <a:lnTo>
                    <a:pt x="175" y="496"/>
                  </a:lnTo>
                  <a:lnTo>
                    <a:pt x="182" y="494"/>
                  </a:lnTo>
                  <a:lnTo>
                    <a:pt x="186" y="489"/>
                  </a:lnTo>
                  <a:lnTo>
                    <a:pt x="191" y="484"/>
                  </a:lnTo>
                  <a:lnTo>
                    <a:pt x="193" y="478"/>
                  </a:lnTo>
                  <a:lnTo>
                    <a:pt x="196" y="473"/>
                  </a:lnTo>
                  <a:lnTo>
                    <a:pt x="196" y="466"/>
                  </a:lnTo>
                  <a:lnTo>
                    <a:pt x="196" y="111"/>
                  </a:lnTo>
                  <a:lnTo>
                    <a:pt x="269" y="186"/>
                  </a:lnTo>
                  <a:lnTo>
                    <a:pt x="269" y="186"/>
                  </a:lnTo>
                  <a:lnTo>
                    <a:pt x="274" y="190"/>
                  </a:lnTo>
                  <a:lnTo>
                    <a:pt x="280" y="193"/>
                  </a:lnTo>
                  <a:lnTo>
                    <a:pt x="287" y="195"/>
                  </a:lnTo>
                  <a:lnTo>
                    <a:pt x="293" y="195"/>
                  </a:lnTo>
                  <a:lnTo>
                    <a:pt x="293" y="195"/>
                  </a:lnTo>
                  <a:lnTo>
                    <a:pt x="299" y="195"/>
                  </a:lnTo>
                  <a:lnTo>
                    <a:pt x="306" y="193"/>
                  </a:lnTo>
                  <a:lnTo>
                    <a:pt x="311" y="190"/>
                  </a:lnTo>
                  <a:lnTo>
                    <a:pt x="316" y="186"/>
                  </a:lnTo>
                  <a:lnTo>
                    <a:pt x="316" y="186"/>
                  </a:lnTo>
                  <a:lnTo>
                    <a:pt x="320" y="181"/>
                  </a:lnTo>
                  <a:lnTo>
                    <a:pt x="323" y="174"/>
                  </a:lnTo>
                  <a:lnTo>
                    <a:pt x="325" y="169"/>
                  </a:lnTo>
                  <a:lnTo>
                    <a:pt x="325" y="162"/>
                  </a:lnTo>
                  <a:lnTo>
                    <a:pt x="325" y="157"/>
                  </a:lnTo>
                  <a:lnTo>
                    <a:pt x="323" y="150"/>
                  </a:lnTo>
                  <a:lnTo>
                    <a:pt x="320" y="144"/>
                  </a:lnTo>
                  <a:lnTo>
                    <a:pt x="316" y="13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0" y="5"/>
                  </a:lnTo>
                  <a:lnTo>
                    <a:pt x="175" y="2"/>
                  </a:lnTo>
                  <a:lnTo>
                    <a:pt x="170" y="0"/>
                  </a:lnTo>
                  <a:lnTo>
                    <a:pt x="163" y="0"/>
                  </a:lnTo>
                  <a:lnTo>
                    <a:pt x="156" y="0"/>
                  </a:lnTo>
                  <a:lnTo>
                    <a:pt x="151" y="2"/>
                  </a:lnTo>
                  <a:lnTo>
                    <a:pt x="146" y="5"/>
                  </a:lnTo>
                  <a:lnTo>
                    <a:pt x="140" y="9"/>
                  </a:lnTo>
                  <a:lnTo>
                    <a:pt x="10" y="139"/>
                  </a:lnTo>
                  <a:lnTo>
                    <a:pt x="10" y="139"/>
                  </a:lnTo>
                  <a:lnTo>
                    <a:pt x="7" y="144"/>
                  </a:lnTo>
                  <a:lnTo>
                    <a:pt x="3" y="150"/>
                  </a:lnTo>
                  <a:lnTo>
                    <a:pt x="1" y="157"/>
                  </a:lnTo>
                  <a:lnTo>
                    <a:pt x="0" y="162"/>
                  </a:lnTo>
                  <a:lnTo>
                    <a:pt x="1" y="169"/>
                  </a:lnTo>
                  <a:lnTo>
                    <a:pt x="3" y="174"/>
                  </a:lnTo>
                  <a:lnTo>
                    <a:pt x="7" y="181"/>
                  </a:lnTo>
                  <a:lnTo>
                    <a:pt x="10" y="186"/>
                  </a:lnTo>
                  <a:lnTo>
                    <a:pt x="10" y="186"/>
                  </a:lnTo>
                  <a:lnTo>
                    <a:pt x="15" y="190"/>
                  </a:lnTo>
                  <a:lnTo>
                    <a:pt x="21" y="193"/>
                  </a:lnTo>
                  <a:lnTo>
                    <a:pt x="27" y="195"/>
                  </a:lnTo>
                  <a:lnTo>
                    <a:pt x="33" y="195"/>
                  </a:lnTo>
                  <a:lnTo>
                    <a:pt x="40" y="195"/>
                  </a:lnTo>
                  <a:lnTo>
                    <a:pt x="45" y="193"/>
                  </a:lnTo>
                  <a:lnTo>
                    <a:pt x="52" y="190"/>
                  </a:lnTo>
                  <a:lnTo>
                    <a:pt x="57" y="186"/>
                  </a:lnTo>
                  <a:lnTo>
                    <a:pt x="130" y="111"/>
                  </a:lnTo>
                  <a:lnTo>
                    <a:pt x="130" y="466"/>
                  </a:lnTo>
                  <a:lnTo>
                    <a:pt x="130" y="466"/>
                  </a:lnTo>
                  <a:lnTo>
                    <a:pt x="130" y="473"/>
                  </a:lnTo>
                  <a:lnTo>
                    <a:pt x="132" y="478"/>
                  </a:lnTo>
                  <a:lnTo>
                    <a:pt x="135" y="485"/>
                  </a:lnTo>
                  <a:lnTo>
                    <a:pt x="140" y="489"/>
                  </a:lnTo>
                  <a:lnTo>
                    <a:pt x="144" y="494"/>
                  </a:lnTo>
                  <a:lnTo>
                    <a:pt x="151" y="496"/>
                  </a:lnTo>
                  <a:lnTo>
                    <a:pt x="156" y="497"/>
                  </a:lnTo>
                  <a:lnTo>
                    <a:pt x="163" y="499"/>
                  </a:lnTo>
                  <a:lnTo>
                    <a:pt x="163" y="499"/>
                  </a:lnTo>
                  <a:close/>
                  <a:moveTo>
                    <a:pt x="163" y="499"/>
                  </a:moveTo>
                  <a:lnTo>
                    <a:pt x="163" y="49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54">
              <a:extLst>
                <a:ext uri="{FF2B5EF4-FFF2-40B4-BE49-F238E27FC236}">
                  <a16:creationId xmlns:a16="http://schemas.microsoft.com/office/drawing/2014/main" id="{535FAE49-D58A-495C-B373-0BD0E18CD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682" y="1324738"/>
              <a:ext cx="258762" cy="395287"/>
            </a:xfrm>
            <a:custGeom>
              <a:avLst/>
              <a:gdLst>
                <a:gd name="T0" fmla="*/ 163 w 325"/>
                <a:gd name="T1" fmla="*/ 499 h 499"/>
                <a:gd name="T2" fmla="*/ 175 w 325"/>
                <a:gd name="T3" fmla="*/ 496 h 499"/>
                <a:gd name="T4" fmla="*/ 186 w 325"/>
                <a:gd name="T5" fmla="*/ 489 h 499"/>
                <a:gd name="T6" fmla="*/ 193 w 325"/>
                <a:gd name="T7" fmla="*/ 478 h 499"/>
                <a:gd name="T8" fmla="*/ 196 w 325"/>
                <a:gd name="T9" fmla="*/ 466 h 499"/>
                <a:gd name="T10" fmla="*/ 269 w 325"/>
                <a:gd name="T11" fmla="*/ 186 h 499"/>
                <a:gd name="T12" fmla="*/ 274 w 325"/>
                <a:gd name="T13" fmla="*/ 190 h 499"/>
                <a:gd name="T14" fmla="*/ 287 w 325"/>
                <a:gd name="T15" fmla="*/ 195 h 499"/>
                <a:gd name="T16" fmla="*/ 293 w 325"/>
                <a:gd name="T17" fmla="*/ 195 h 499"/>
                <a:gd name="T18" fmla="*/ 306 w 325"/>
                <a:gd name="T19" fmla="*/ 193 h 499"/>
                <a:gd name="T20" fmla="*/ 316 w 325"/>
                <a:gd name="T21" fmla="*/ 186 h 499"/>
                <a:gd name="T22" fmla="*/ 320 w 325"/>
                <a:gd name="T23" fmla="*/ 181 h 499"/>
                <a:gd name="T24" fmla="*/ 325 w 325"/>
                <a:gd name="T25" fmla="*/ 169 h 499"/>
                <a:gd name="T26" fmla="*/ 325 w 325"/>
                <a:gd name="T27" fmla="*/ 157 h 499"/>
                <a:gd name="T28" fmla="*/ 320 w 325"/>
                <a:gd name="T29" fmla="*/ 144 h 499"/>
                <a:gd name="T30" fmla="*/ 186 w 325"/>
                <a:gd name="T31" fmla="*/ 9 h 499"/>
                <a:gd name="T32" fmla="*/ 180 w 325"/>
                <a:gd name="T33" fmla="*/ 5 h 499"/>
                <a:gd name="T34" fmla="*/ 170 w 325"/>
                <a:gd name="T35" fmla="*/ 0 h 499"/>
                <a:gd name="T36" fmla="*/ 156 w 325"/>
                <a:gd name="T37" fmla="*/ 0 h 499"/>
                <a:gd name="T38" fmla="*/ 146 w 325"/>
                <a:gd name="T39" fmla="*/ 5 h 499"/>
                <a:gd name="T40" fmla="*/ 10 w 325"/>
                <a:gd name="T41" fmla="*/ 139 h 499"/>
                <a:gd name="T42" fmla="*/ 7 w 325"/>
                <a:gd name="T43" fmla="*/ 144 h 499"/>
                <a:gd name="T44" fmla="*/ 1 w 325"/>
                <a:gd name="T45" fmla="*/ 157 h 499"/>
                <a:gd name="T46" fmla="*/ 1 w 325"/>
                <a:gd name="T47" fmla="*/ 169 h 499"/>
                <a:gd name="T48" fmla="*/ 7 w 325"/>
                <a:gd name="T49" fmla="*/ 181 h 499"/>
                <a:gd name="T50" fmla="*/ 10 w 325"/>
                <a:gd name="T51" fmla="*/ 186 h 499"/>
                <a:gd name="T52" fmla="*/ 21 w 325"/>
                <a:gd name="T53" fmla="*/ 193 h 499"/>
                <a:gd name="T54" fmla="*/ 33 w 325"/>
                <a:gd name="T55" fmla="*/ 195 h 499"/>
                <a:gd name="T56" fmla="*/ 45 w 325"/>
                <a:gd name="T57" fmla="*/ 193 h 499"/>
                <a:gd name="T58" fmla="*/ 57 w 325"/>
                <a:gd name="T59" fmla="*/ 186 h 499"/>
                <a:gd name="T60" fmla="*/ 130 w 325"/>
                <a:gd name="T61" fmla="*/ 466 h 499"/>
                <a:gd name="T62" fmla="*/ 130 w 325"/>
                <a:gd name="T63" fmla="*/ 473 h 499"/>
                <a:gd name="T64" fmla="*/ 135 w 325"/>
                <a:gd name="T65" fmla="*/ 485 h 499"/>
                <a:gd name="T66" fmla="*/ 144 w 325"/>
                <a:gd name="T67" fmla="*/ 494 h 499"/>
                <a:gd name="T68" fmla="*/ 156 w 325"/>
                <a:gd name="T69" fmla="*/ 497 h 499"/>
                <a:gd name="T70" fmla="*/ 163 w 325"/>
                <a:gd name="T71" fmla="*/ 499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5" h="499">
                  <a:moveTo>
                    <a:pt x="163" y="499"/>
                  </a:moveTo>
                  <a:lnTo>
                    <a:pt x="163" y="499"/>
                  </a:lnTo>
                  <a:lnTo>
                    <a:pt x="170" y="497"/>
                  </a:lnTo>
                  <a:lnTo>
                    <a:pt x="175" y="496"/>
                  </a:lnTo>
                  <a:lnTo>
                    <a:pt x="182" y="494"/>
                  </a:lnTo>
                  <a:lnTo>
                    <a:pt x="186" y="489"/>
                  </a:lnTo>
                  <a:lnTo>
                    <a:pt x="191" y="484"/>
                  </a:lnTo>
                  <a:lnTo>
                    <a:pt x="193" y="478"/>
                  </a:lnTo>
                  <a:lnTo>
                    <a:pt x="196" y="473"/>
                  </a:lnTo>
                  <a:lnTo>
                    <a:pt x="196" y="466"/>
                  </a:lnTo>
                  <a:lnTo>
                    <a:pt x="196" y="111"/>
                  </a:lnTo>
                  <a:lnTo>
                    <a:pt x="269" y="186"/>
                  </a:lnTo>
                  <a:lnTo>
                    <a:pt x="269" y="186"/>
                  </a:lnTo>
                  <a:lnTo>
                    <a:pt x="274" y="190"/>
                  </a:lnTo>
                  <a:lnTo>
                    <a:pt x="280" y="193"/>
                  </a:lnTo>
                  <a:lnTo>
                    <a:pt x="287" y="195"/>
                  </a:lnTo>
                  <a:lnTo>
                    <a:pt x="293" y="195"/>
                  </a:lnTo>
                  <a:lnTo>
                    <a:pt x="293" y="195"/>
                  </a:lnTo>
                  <a:lnTo>
                    <a:pt x="299" y="195"/>
                  </a:lnTo>
                  <a:lnTo>
                    <a:pt x="306" y="193"/>
                  </a:lnTo>
                  <a:lnTo>
                    <a:pt x="311" y="190"/>
                  </a:lnTo>
                  <a:lnTo>
                    <a:pt x="316" y="186"/>
                  </a:lnTo>
                  <a:lnTo>
                    <a:pt x="316" y="186"/>
                  </a:lnTo>
                  <a:lnTo>
                    <a:pt x="320" y="181"/>
                  </a:lnTo>
                  <a:lnTo>
                    <a:pt x="323" y="174"/>
                  </a:lnTo>
                  <a:lnTo>
                    <a:pt x="325" y="169"/>
                  </a:lnTo>
                  <a:lnTo>
                    <a:pt x="325" y="162"/>
                  </a:lnTo>
                  <a:lnTo>
                    <a:pt x="325" y="157"/>
                  </a:lnTo>
                  <a:lnTo>
                    <a:pt x="323" y="150"/>
                  </a:lnTo>
                  <a:lnTo>
                    <a:pt x="320" y="144"/>
                  </a:lnTo>
                  <a:lnTo>
                    <a:pt x="316" y="139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0" y="5"/>
                  </a:lnTo>
                  <a:lnTo>
                    <a:pt x="175" y="2"/>
                  </a:lnTo>
                  <a:lnTo>
                    <a:pt x="170" y="0"/>
                  </a:lnTo>
                  <a:lnTo>
                    <a:pt x="163" y="0"/>
                  </a:lnTo>
                  <a:lnTo>
                    <a:pt x="156" y="0"/>
                  </a:lnTo>
                  <a:lnTo>
                    <a:pt x="151" y="2"/>
                  </a:lnTo>
                  <a:lnTo>
                    <a:pt x="146" y="5"/>
                  </a:lnTo>
                  <a:lnTo>
                    <a:pt x="140" y="9"/>
                  </a:lnTo>
                  <a:lnTo>
                    <a:pt x="10" y="139"/>
                  </a:lnTo>
                  <a:lnTo>
                    <a:pt x="10" y="139"/>
                  </a:lnTo>
                  <a:lnTo>
                    <a:pt x="7" y="144"/>
                  </a:lnTo>
                  <a:lnTo>
                    <a:pt x="3" y="150"/>
                  </a:lnTo>
                  <a:lnTo>
                    <a:pt x="1" y="157"/>
                  </a:lnTo>
                  <a:lnTo>
                    <a:pt x="0" y="162"/>
                  </a:lnTo>
                  <a:lnTo>
                    <a:pt x="1" y="169"/>
                  </a:lnTo>
                  <a:lnTo>
                    <a:pt x="3" y="174"/>
                  </a:lnTo>
                  <a:lnTo>
                    <a:pt x="7" y="181"/>
                  </a:lnTo>
                  <a:lnTo>
                    <a:pt x="10" y="186"/>
                  </a:lnTo>
                  <a:lnTo>
                    <a:pt x="10" y="186"/>
                  </a:lnTo>
                  <a:lnTo>
                    <a:pt x="15" y="190"/>
                  </a:lnTo>
                  <a:lnTo>
                    <a:pt x="21" y="193"/>
                  </a:lnTo>
                  <a:lnTo>
                    <a:pt x="27" y="195"/>
                  </a:lnTo>
                  <a:lnTo>
                    <a:pt x="33" y="195"/>
                  </a:lnTo>
                  <a:lnTo>
                    <a:pt x="40" y="195"/>
                  </a:lnTo>
                  <a:lnTo>
                    <a:pt x="45" y="193"/>
                  </a:lnTo>
                  <a:lnTo>
                    <a:pt x="52" y="190"/>
                  </a:lnTo>
                  <a:lnTo>
                    <a:pt x="57" y="186"/>
                  </a:lnTo>
                  <a:lnTo>
                    <a:pt x="130" y="111"/>
                  </a:lnTo>
                  <a:lnTo>
                    <a:pt x="130" y="466"/>
                  </a:lnTo>
                  <a:lnTo>
                    <a:pt x="130" y="466"/>
                  </a:lnTo>
                  <a:lnTo>
                    <a:pt x="130" y="473"/>
                  </a:lnTo>
                  <a:lnTo>
                    <a:pt x="132" y="478"/>
                  </a:lnTo>
                  <a:lnTo>
                    <a:pt x="135" y="485"/>
                  </a:lnTo>
                  <a:lnTo>
                    <a:pt x="140" y="489"/>
                  </a:lnTo>
                  <a:lnTo>
                    <a:pt x="144" y="494"/>
                  </a:lnTo>
                  <a:lnTo>
                    <a:pt x="151" y="496"/>
                  </a:lnTo>
                  <a:lnTo>
                    <a:pt x="156" y="497"/>
                  </a:lnTo>
                  <a:lnTo>
                    <a:pt x="163" y="499"/>
                  </a:lnTo>
                  <a:lnTo>
                    <a:pt x="163" y="499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Line 55">
              <a:extLst>
                <a:ext uri="{FF2B5EF4-FFF2-40B4-BE49-F238E27FC236}">
                  <a16:creationId xmlns:a16="http://schemas.microsoft.com/office/drawing/2014/main" id="{136A9E99-D32B-48AF-AF0B-912FC7975C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7857" y="172002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56">
              <a:extLst>
                <a:ext uri="{FF2B5EF4-FFF2-40B4-BE49-F238E27FC236}">
                  <a16:creationId xmlns:a16="http://schemas.microsoft.com/office/drawing/2014/main" id="{82EF04D7-1686-48FE-B4B0-7F3A121C8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7682" y="2340738"/>
              <a:ext cx="258762" cy="396875"/>
            </a:xfrm>
            <a:custGeom>
              <a:avLst/>
              <a:gdLst>
                <a:gd name="T0" fmla="*/ 140 w 325"/>
                <a:gd name="T1" fmla="*/ 489 h 499"/>
                <a:gd name="T2" fmla="*/ 146 w 325"/>
                <a:gd name="T3" fmla="*/ 494 h 499"/>
                <a:gd name="T4" fmla="*/ 156 w 325"/>
                <a:gd name="T5" fmla="*/ 499 h 499"/>
                <a:gd name="T6" fmla="*/ 163 w 325"/>
                <a:gd name="T7" fmla="*/ 499 h 499"/>
                <a:gd name="T8" fmla="*/ 175 w 325"/>
                <a:gd name="T9" fmla="*/ 496 h 499"/>
                <a:gd name="T10" fmla="*/ 186 w 325"/>
                <a:gd name="T11" fmla="*/ 489 h 499"/>
                <a:gd name="T12" fmla="*/ 316 w 325"/>
                <a:gd name="T13" fmla="*/ 360 h 499"/>
                <a:gd name="T14" fmla="*/ 323 w 325"/>
                <a:gd name="T15" fmla="*/ 348 h 499"/>
                <a:gd name="T16" fmla="*/ 325 w 325"/>
                <a:gd name="T17" fmla="*/ 336 h 499"/>
                <a:gd name="T18" fmla="*/ 323 w 325"/>
                <a:gd name="T19" fmla="*/ 323 h 499"/>
                <a:gd name="T20" fmla="*/ 316 w 325"/>
                <a:gd name="T21" fmla="*/ 313 h 499"/>
                <a:gd name="T22" fmla="*/ 311 w 325"/>
                <a:gd name="T23" fmla="*/ 308 h 499"/>
                <a:gd name="T24" fmla="*/ 299 w 325"/>
                <a:gd name="T25" fmla="*/ 304 h 499"/>
                <a:gd name="T26" fmla="*/ 287 w 325"/>
                <a:gd name="T27" fmla="*/ 304 h 499"/>
                <a:gd name="T28" fmla="*/ 274 w 325"/>
                <a:gd name="T29" fmla="*/ 308 h 499"/>
                <a:gd name="T30" fmla="*/ 196 w 325"/>
                <a:gd name="T31" fmla="*/ 386 h 499"/>
                <a:gd name="T32" fmla="*/ 196 w 325"/>
                <a:gd name="T33" fmla="*/ 33 h 499"/>
                <a:gd name="T34" fmla="*/ 193 w 325"/>
                <a:gd name="T35" fmla="*/ 19 h 499"/>
                <a:gd name="T36" fmla="*/ 186 w 325"/>
                <a:gd name="T37" fmla="*/ 9 h 499"/>
                <a:gd name="T38" fmla="*/ 175 w 325"/>
                <a:gd name="T39" fmla="*/ 2 h 499"/>
                <a:gd name="T40" fmla="*/ 163 w 325"/>
                <a:gd name="T41" fmla="*/ 0 h 499"/>
                <a:gd name="T42" fmla="*/ 156 w 325"/>
                <a:gd name="T43" fmla="*/ 0 h 499"/>
                <a:gd name="T44" fmla="*/ 144 w 325"/>
                <a:gd name="T45" fmla="*/ 5 h 499"/>
                <a:gd name="T46" fmla="*/ 135 w 325"/>
                <a:gd name="T47" fmla="*/ 14 h 499"/>
                <a:gd name="T48" fmla="*/ 130 w 325"/>
                <a:gd name="T49" fmla="*/ 26 h 499"/>
                <a:gd name="T50" fmla="*/ 130 w 325"/>
                <a:gd name="T51" fmla="*/ 386 h 499"/>
                <a:gd name="T52" fmla="*/ 57 w 325"/>
                <a:gd name="T53" fmla="*/ 313 h 499"/>
                <a:gd name="T54" fmla="*/ 45 w 325"/>
                <a:gd name="T55" fmla="*/ 306 h 499"/>
                <a:gd name="T56" fmla="*/ 33 w 325"/>
                <a:gd name="T57" fmla="*/ 302 h 499"/>
                <a:gd name="T58" fmla="*/ 21 w 325"/>
                <a:gd name="T59" fmla="*/ 306 h 499"/>
                <a:gd name="T60" fmla="*/ 10 w 325"/>
                <a:gd name="T61" fmla="*/ 313 h 499"/>
                <a:gd name="T62" fmla="*/ 7 w 325"/>
                <a:gd name="T63" fmla="*/ 318 h 499"/>
                <a:gd name="T64" fmla="*/ 1 w 325"/>
                <a:gd name="T65" fmla="*/ 330 h 499"/>
                <a:gd name="T66" fmla="*/ 1 w 325"/>
                <a:gd name="T67" fmla="*/ 342 h 499"/>
                <a:gd name="T68" fmla="*/ 7 w 325"/>
                <a:gd name="T69" fmla="*/ 355 h 499"/>
                <a:gd name="T70" fmla="*/ 10 w 325"/>
                <a:gd name="T71" fmla="*/ 360 h 499"/>
                <a:gd name="T72" fmla="*/ 10 w 325"/>
                <a:gd name="T73" fmla="*/ 36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5" h="499">
                  <a:moveTo>
                    <a:pt x="10" y="360"/>
                  </a:moveTo>
                  <a:lnTo>
                    <a:pt x="140" y="489"/>
                  </a:lnTo>
                  <a:lnTo>
                    <a:pt x="140" y="489"/>
                  </a:lnTo>
                  <a:lnTo>
                    <a:pt x="146" y="494"/>
                  </a:lnTo>
                  <a:lnTo>
                    <a:pt x="151" y="496"/>
                  </a:lnTo>
                  <a:lnTo>
                    <a:pt x="156" y="499"/>
                  </a:lnTo>
                  <a:lnTo>
                    <a:pt x="163" y="499"/>
                  </a:lnTo>
                  <a:lnTo>
                    <a:pt x="163" y="499"/>
                  </a:lnTo>
                  <a:lnTo>
                    <a:pt x="170" y="499"/>
                  </a:lnTo>
                  <a:lnTo>
                    <a:pt x="175" y="496"/>
                  </a:lnTo>
                  <a:lnTo>
                    <a:pt x="180" y="494"/>
                  </a:lnTo>
                  <a:lnTo>
                    <a:pt x="186" y="489"/>
                  </a:lnTo>
                  <a:lnTo>
                    <a:pt x="316" y="360"/>
                  </a:lnTo>
                  <a:lnTo>
                    <a:pt x="316" y="360"/>
                  </a:lnTo>
                  <a:lnTo>
                    <a:pt x="320" y="355"/>
                  </a:lnTo>
                  <a:lnTo>
                    <a:pt x="323" y="348"/>
                  </a:lnTo>
                  <a:lnTo>
                    <a:pt x="325" y="342"/>
                  </a:lnTo>
                  <a:lnTo>
                    <a:pt x="325" y="336"/>
                  </a:lnTo>
                  <a:lnTo>
                    <a:pt x="325" y="330"/>
                  </a:lnTo>
                  <a:lnTo>
                    <a:pt x="323" y="323"/>
                  </a:lnTo>
                  <a:lnTo>
                    <a:pt x="320" y="318"/>
                  </a:lnTo>
                  <a:lnTo>
                    <a:pt x="316" y="313"/>
                  </a:lnTo>
                  <a:lnTo>
                    <a:pt x="316" y="313"/>
                  </a:lnTo>
                  <a:lnTo>
                    <a:pt x="311" y="308"/>
                  </a:lnTo>
                  <a:lnTo>
                    <a:pt x="306" y="306"/>
                  </a:lnTo>
                  <a:lnTo>
                    <a:pt x="299" y="304"/>
                  </a:lnTo>
                  <a:lnTo>
                    <a:pt x="293" y="302"/>
                  </a:lnTo>
                  <a:lnTo>
                    <a:pt x="287" y="304"/>
                  </a:lnTo>
                  <a:lnTo>
                    <a:pt x="280" y="306"/>
                  </a:lnTo>
                  <a:lnTo>
                    <a:pt x="274" y="308"/>
                  </a:lnTo>
                  <a:lnTo>
                    <a:pt x="269" y="313"/>
                  </a:lnTo>
                  <a:lnTo>
                    <a:pt x="196" y="386"/>
                  </a:lnTo>
                  <a:lnTo>
                    <a:pt x="196" y="33"/>
                  </a:lnTo>
                  <a:lnTo>
                    <a:pt x="196" y="33"/>
                  </a:lnTo>
                  <a:lnTo>
                    <a:pt x="196" y="26"/>
                  </a:lnTo>
                  <a:lnTo>
                    <a:pt x="193" y="19"/>
                  </a:lnTo>
                  <a:lnTo>
                    <a:pt x="191" y="14"/>
                  </a:lnTo>
                  <a:lnTo>
                    <a:pt x="186" y="9"/>
                  </a:lnTo>
                  <a:lnTo>
                    <a:pt x="182" y="5"/>
                  </a:lnTo>
                  <a:lnTo>
                    <a:pt x="175" y="2"/>
                  </a:lnTo>
                  <a:lnTo>
                    <a:pt x="170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6" y="0"/>
                  </a:lnTo>
                  <a:lnTo>
                    <a:pt x="151" y="2"/>
                  </a:lnTo>
                  <a:lnTo>
                    <a:pt x="144" y="5"/>
                  </a:lnTo>
                  <a:lnTo>
                    <a:pt x="140" y="9"/>
                  </a:lnTo>
                  <a:lnTo>
                    <a:pt x="135" y="14"/>
                  </a:lnTo>
                  <a:lnTo>
                    <a:pt x="132" y="19"/>
                  </a:lnTo>
                  <a:lnTo>
                    <a:pt x="130" y="26"/>
                  </a:lnTo>
                  <a:lnTo>
                    <a:pt x="130" y="33"/>
                  </a:lnTo>
                  <a:lnTo>
                    <a:pt x="130" y="386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2" y="308"/>
                  </a:lnTo>
                  <a:lnTo>
                    <a:pt x="45" y="306"/>
                  </a:lnTo>
                  <a:lnTo>
                    <a:pt x="40" y="304"/>
                  </a:lnTo>
                  <a:lnTo>
                    <a:pt x="33" y="302"/>
                  </a:lnTo>
                  <a:lnTo>
                    <a:pt x="27" y="304"/>
                  </a:lnTo>
                  <a:lnTo>
                    <a:pt x="21" y="306"/>
                  </a:lnTo>
                  <a:lnTo>
                    <a:pt x="15" y="308"/>
                  </a:lnTo>
                  <a:lnTo>
                    <a:pt x="10" y="313"/>
                  </a:lnTo>
                  <a:lnTo>
                    <a:pt x="10" y="313"/>
                  </a:lnTo>
                  <a:lnTo>
                    <a:pt x="7" y="318"/>
                  </a:lnTo>
                  <a:lnTo>
                    <a:pt x="3" y="323"/>
                  </a:lnTo>
                  <a:lnTo>
                    <a:pt x="1" y="330"/>
                  </a:lnTo>
                  <a:lnTo>
                    <a:pt x="0" y="336"/>
                  </a:lnTo>
                  <a:lnTo>
                    <a:pt x="1" y="342"/>
                  </a:lnTo>
                  <a:lnTo>
                    <a:pt x="3" y="348"/>
                  </a:lnTo>
                  <a:lnTo>
                    <a:pt x="7" y="355"/>
                  </a:lnTo>
                  <a:lnTo>
                    <a:pt x="10" y="360"/>
                  </a:lnTo>
                  <a:lnTo>
                    <a:pt x="10" y="360"/>
                  </a:lnTo>
                  <a:close/>
                  <a:moveTo>
                    <a:pt x="10" y="360"/>
                  </a:moveTo>
                  <a:lnTo>
                    <a:pt x="10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57">
              <a:extLst>
                <a:ext uri="{FF2B5EF4-FFF2-40B4-BE49-F238E27FC236}">
                  <a16:creationId xmlns:a16="http://schemas.microsoft.com/office/drawing/2014/main" id="{11681FB2-A46A-4372-A943-7AE647ED7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7682" y="2340738"/>
              <a:ext cx="258762" cy="396875"/>
            </a:xfrm>
            <a:custGeom>
              <a:avLst/>
              <a:gdLst>
                <a:gd name="T0" fmla="*/ 140 w 325"/>
                <a:gd name="T1" fmla="*/ 489 h 499"/>
                <a:gd name="T2" fmla="*/ 146 w 325"/>
                <a:gd name="T3" fmla="*/ 494 h 499"/>
                <a:gd name="T4" fmla="*/ 156 w 325"/>
                <a:gd name="T5" fmla="*/ 499 h 499"/>
                <a:gd name="T6" fmla="*/ 163 w 325"/>
                <a:gd name="T7" fmla="*/ 499 h 499"/>
                <a:gd name="T8" fmla="*/ 175 w 325"/>
                <a:gd name="T9" fmla="*/ 496 h 499"/>
                <a:gd name="T10" fmla="*/ 186 w 325"/>
                <a:gd name="T11" fmla="*/ 489 h 499"/>
                <a:gd name="T12" fmla="*/ 316 w 325"/>
                <a:gd name="T13" fmla="*/ 360 h 499"/>
                <a:gd name="T14" fmla="*/ 323 w 325"/>
                <a:gd name="T15" fmla="*/ 348 h 499"/>
                <a:gd name="T16" fmla="*/ 325 w 325"/>
                <a:gd name="T17" fmla="*/ 336 h 499"/>
                <a:gd name="T18" fmla="*/ 323 w 325"/>
                <a:gd name="T19" fmla="*/ 323 h 499"/>
                <a:gd name="T20" fmla="*/ 316 w 325"/>
                <a:gd name="T21" fmla="*/ 313 h 499"/>
                <a:gd name="T22" fmla="*/ 311 w 325"/>
                <a:gd name="T23" fmla="*/ 308 h 499"/>
                <a:gd name="T24" fmla="*/ 299 w 325"/>
                <a:gd name="T25" fmla="*/ 304 h 499"/>
                <a:gd name="T26" fmla="*/ 287 w 325"/>
                <a:gd name="T27" fmla="*/ 304 h 499"/>
                <a:gd name="T28" fmla="*/ 274 w 325"/>
                <a:gd name="T29" fmla="*/ 308 h 499"/>
                <a:gd name="T30" fmla="*/ 196 w 325"/>
                <a:gd name="T31" fmla="*/ 386 h 499"/>
                <a:gd name="T32" fmla="*/ 196 w 325"/>
                <a:gd name="T33" fmla="*/ 33 h 499"/>
                <a:gd name="T34" fmla="*/ 193 w 325"/>
                <a:gd name="T35" fmla="*/ 19 h 499"/>
                <a:gd name="T36" fmla="*/ 186 w 325"/>
                <a:gd name="T37" fmla="*/ 9 h 499"/>
                <a:gd name="T38" fmla="*/ 175 w 325"/>
                <a:gd name="T39" fmla="*/ 2 h 499"/>
                <a:gd name="T40" fmla="*/ 163 w 325"/>
                <a:gd name="T41" fmla="*/ 0 h 499"/>
                <a:gd name="T42" fmla="*/ 156 w 325"/>
                <a:gd name="T43" fmla="*/ 0 h 499"/>
                <a:gd name="T44" fmla="*/ 144 w 325"/>
                <a:gd name="T45" fmla="*/ 5 h 499"/>
                <a:gd name="T46" fmla="*/ 135 w 325"/>
                <a:gd name="T47" fmla="*/ 14 h 499"/>
                <a:gd name="T48" fmla="*/ 130 w 325"/>
                <a:gd name="T49" fmla="*/ 26 h 499"/>
                <a:gd name="T50" fmla="*/ 130 w 325"/>
                <a:gd name="T51" fmla="*/ 386 h 499"/>
                <a:gd name="T52" fmla="*/ 57 w 325"/>
                <a:gd name="T53" fmla="*/ 313 h 499"/>
                <a:gd name="T54" fmla="*/ 45 w 325"/>
                <a:gd name="T55" fmla="*/ 306 h 499"/>
                <a:gd name="T56" fmla="*/ 33 w 325"/>
                <a:gd name="T57" fmla="*/ 302 h 499"/>
                <a:gd name="T58" fmla="*/ 21 w 325"/>
                <a:gd name="T59" fmla="*/ 306 h 499"/>
                <a:gd name="T60" fmla="*/ 10 w 325"/>
                <a:gd name="T61" fmla="*/ 313 h 499"/>
                <a:gd name="T62" fmla="*/ 7 w 325"/>
                <a:gd name="T63" fmla="*/ 318 h 499"/>
                <a:gd name="T64" fmla="*/ 1 w 325"/>
                <a:gd name="T65" fmla="*/ 330 h 499"/>
                <a:gd name="T66" fmla="*/ 1 w 325"/>
                <a:gd name="T67" fmla="*/ 342 h 499"/>
                <a:gd name="T68" fmla="*/ 7 w 325"/>
                <a:gd name="T69" fmla="*/ 355 h 499"/>
                <a:gd name="T70" fmla="*/ 10 w 325"/>
                <a:gd name="T71" fmla="*/ 36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5" h="499">
                  <a:moveTo>
                    <a:pt x="10" y="360"/>
                  </a:moveTo>
                  <a:lnTo>
                    <a:pt x="140" y="489"/>
                  </a:lnTo>
                  <a:lnTo>
                    <a:pt x="140" y="489"/>
                  </a:lnTo>
                  <a:lnTo>
                    <a:pt x="146" y="494"/>
                  </a:lnTo>
                  <a:lnTo>
                    <a:pt x="151" y="496"/>
                  </a:lnTo>
                  <a:lnTo>
                    <a:pt x="156" y="499"/>
                  </a:lnTo>
                  <a:lnTo>
                    <a:pt x="163" y="499"/>
                  </a:lnTo>
                  <a:lnTo>
                    <a:pt x="163" y="499"/>
                  </a:lnTo>
                  <a:lnTo>
                    <a:pt x="170" y="499"/>
                  </a:lnTo>
                  <a:lnTo>
                    <a:pt x="175" y="496"/>
                  </a:lnTo>
                  <a:lnTo>
                    <a:pt x="180" y="494"/>
                  </a:lnTo>
                  <a:lnTo>
                    <a:pt x="186" y="489"/>
                  </a:lnTo>
                  <a:lnTo>
                    <a:pt x="316" y="360"/>
                  </a:lnTo>
                  <a:lnTo>
                    <a:pt x="316" y="360"/>
                  </a:lnTo>
                  <a:lnTo>
                    <a:pt x="320" y="355"/>
                  </a:lnTo>
                  <a:lnTo>
                    <a:pt x="323" y="348"/>
                  </a:lnTo>
                  <a:lnTo>
                    <a:pt x="325" y="342"/>
                  </a:lnTo>
                  <a:lnTo>
                    <a:pt x="325" y="336"/>
                  </a:lnTo>
                  <a:lnTo>
                    <a:pt x="325" y="330"/>
                  </a:lnTo>
                  <a:lnTo>
                    <a:pt x="323" y="323"/>
                  </a:lnTo>
                  <a:lnTo>
                    <a:pt x="320" y="318"/>
                  </a:lnTo>
                  <a:lnTo>
                    <a:pt x="316" y="313"/>
                  </a:lnTo>
                  <a:lnTo>
                    <a:pt x="316" y="313"/>
                  </a:lnTo>
                  <a:lnTo>
                    <a:pt x="311" y="308"/>
                  </a:lnTo>
                  <a:lnTo>
                    <a:pt x="306" y="306"/>
                  </a:lnTo>
                  <a:lnTo>
                    <a:pt x="299" y="304"/>
                  </a:lnTo>
                  <a:lnTo>
                    <a:pt x="293" y="302"/>
                  </a:lnTo>
                  <a:lnTo>
                    <a:pt x="287" y="304"/>
                  </a:lnTo>
                  <a:lnTo>
                    <a:pt x="280" y="306"/>
                  </a:lnTo>
                  <a:lnTo>
                    <a:pt x="274" y="308"/>
                  </a:lnTo>
                  <a:lnTo>
                    <a:pt x="269" y="313"/>
                  </a:lnTo>
                  <a:lnTo>
                    <a:pt x="196" y="386"/>
                  </a:lnTo>
                  <a:lnTo>
                    <a:pt x="196" y="33"/>
                  </a:lnTo>
                  <a:lnTo>
                    <a:pt x="196" y="33"/>
                  </a:lnTo>
                  <a:lnTo>
                    <a:pt x="196" y="26"/>
                  </a:lnTo>
                  <a:lnTo>
                    <a:pt x="193" y="19"/>
                  </a:lnTo>
                  <a:lnTo>
                    <a:pt x="191" y="14"/>
                  </a:lnTo>
                  <a:lnTo>
                    <a:pt x="186" y="9"/>
                  </a:lnTo>
                  <a:lnTo>
                    <a:pt x="182" y="5"/>
                  </a:lnTo>
                  <a:lnTo>
                    <a:pt x="175" y="2"/>
                  </a:lnTo>
                  <a:lnTo>
                    <a:pt x="170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6" y="0"/>
                  </a:lnTo>
                  <a:lnTo>
                    <a:pt x="151" y="2"/>
                  </a:lnTo>
                  <a:lnTo>
                    <a:pt x="144" y="5"/>
                  </a:lnTo>
                  <a:lnTo>
                    <a:pt x="140" y="9"/>
                  </a:lnTo>
                  <a:lnTo>
                    <a:pt x="135" y="14"/>
                  </a:lnTo>
                  <a:lnTo>
                    <a:pt x="132" y="19"/>
                  </a:lnTo>
                  <a:lnTo>
                    <a:pt x="130" y="26"/>
                  </a:lnTo>
                  <a:lnTo>
                    <a:pt x="130" y="33"/>
                  </a:lnTo>
                  <a:lnTo>
                    <a:pt x="130" y="386"/>
                  </a:lnTo>
                  <a:lnTo>
                    <a:pt x="57" y="313"/>
                  </a:lnTo>
                  <a:lnTo>
                    <a:pt x="57" y="313"/>
                  </a:lnTo>
                  <a:lnTo>
                    <a:pt x="52" y="308"/>
                  </a:lnTo>
                  <a:lnTo>
                    <a:pt x="45" y="306"/>
                  </a:lnTo>
                  <a:lnTo>
                    <a:pt x="40" y="304"/>
                  </a:lnTo>
                  <a:lnTo>
                    <a:pt x="33" y="302"/>
                  </a:lnTo>
                  <a:lnTo>
                    <a:pt x="27" y="304"/>
                  </a:lnTo>
                  <a:lnTo>
                    <a:pt x="21" y="306"/>
                  </a:lnTo>
                  <a:lnTo>
                    <a:pt x="15" y="308"/>
                  </a:lnTo>
                  <a:lnTo>
                    <a:pt x="10" y="313"/>
                  </a:lnTo>
                  <a:lnTo>
                    <a:pt x="10" y="313"/>
                  </a:lnTo>
                  <a:lnTo>
                    <a:pt x="7" y="318"/>
                  </a:lnTo>
                  <a:lnTo>
                    <a:pt x="3" y="323"/>
                  </a:lnTo>
                  <a:lnTo>
                    <a:pt x="1" y="330"/>
                  </a:lnTo>
                  <a:lnTo>
                    <a:pt x="0" y="336"/>
                  </a:lnTo>
                  <a:lnTo>
                    <a:pt x="1" y="342"/>
                  </a:lnTo>
                  <a:lnTo>
                    <a:pt x="3" y="348"/>
                  </a:lnTo>
                  <a:lnTo>
                    <a:pt x="7" y="355"/>
                  </a:lnTo>
                  <a:lnTo>
                    <a:pt x="10" y="360"/>
                  </a:lnTo>
                  <a:lnTo>
                    <a:pt x="10" y="360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Line 58">
              <a:extLst>
                <a:ext uri="{FF2B5EF4-FFF2-40B4-BE49-F238E27FC236}">
                  <a16:creationId xmlns:a16="http://schemas.microsoft.com/office/drawing/2014/main" id="{C0FE7D42-FF68-43EC-93A8-15A1267B6A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07207" y="262648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59">
              <a:extLst>
                <a:ext uri="{FF2B5EF4-FFF2-40B4-BE49-F238E27FC236}">
                  <a16:creationId xmlns:a16="http://schemas.microsoft.com/office/drawing/2014/main" id="{7BE4EB06-9864-4CA6-9184-2C96147570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1420" y="1901001"/>
              <a:ext cx="395287" cy="258762"/>
            </a:xfrm>
            <a:custGeom>
              <a:avLst/>
              <a:gdLst>
                <a:gd name="T0" fmla="*/ 139 w 499"/>
                <a:gd name="T1" fmla="*/ 317 h 325"/>
                <a:gd name="T2" fmla="*/ 150 w 499"/>
                <a:gd name="T3" fmla="*/ 324 h 325"/>
                <a:gd name="T4" fmla="*/ 162 w 499"/>
                <a:gd name="T5" fmla="*/ 325 h 325"/>
                <a:gd name="T6" fmla="*/ 169 w 499"/>
                <a:gd name="T7" fmla="*/ 325 h 325"/>
                <a:gd name="T8" fmla="*/ 181 w 499"/>
                <a:gd name="T9" fmla="*/ 320 h 325"/>
                <a:gd name="T10" fmla="*/ 186 w 499"/>
                <a:gd name="T11" fmla="*/ 317 h 325"/>
                <a:gd name="T12" fmla="*/ 193 w 499"/>
                <a:gd name="T13" fmla="*/ 306 h 325"/>
                <a:gd name="T14" fmla="*/ 195 w 499"/>
                <a:gd name="T15" fmla="*/ 292 h 325"/>
                <a:gd name="T16" fmla="*/ 193 w 499"/>
                <a:gd name="T17" fmla="*/ 280 h 325"/>
                <a:gd name="T18" fmla="*/ 186 w 499"/>
                <a:gd name="T19" fmla="*/ 270 h 325"/>
                <a:gd name="T20" fmla="*/ 466 w 499"/>
                <a:gd name="T21" fmla="*/ 197 h 325"/>
                <a:gd name="T22" fmla="*/ 473 w 499"/>
                <a:gd name="T23" fmla="*/ 195 h 325"/>
                <a:gd name="T24" fmla="*/ 485 w 499"/>
                <a:gd name="T25" fmla="*/ 191 h 325"/>
                <a:gd name="T26" fmla="*/ 494 w 499"/>
                <a:gd name="T27" fmla="*/ 181 h 325"/>
                <a:gd name="T28" fmla="*/ 499 w 499"/>
                <a:gd name="T29" fmla="*/ 170 h 325"/>
                <a:gd name="T30" fmla="*/ 499 w 499"/>
                <a:gd name="T31" fmla="*/ 164 h 325"/>
                <a:gd name="T32" fmla="*/ 497 w 499"/>
                <a:gd name="T33" fmla="*/ 150 h 325"/>
                <a:gd name="T34" fmla="*/ 489 w 499"/>
                <a:gd name="T35" fmla="*/ 139 h 325"/>
                <a:gd name="T36" fmla="*/ 478 w 499"/>
                <a:gd name="T37" fmla="*/ 132 h 325"/>
                <a:gd name="T38" fmla="*/ 466 w 499"/>
                <a:gd name="T39" fmla="*/ 130 h 325"/>
                <a:gd name="T40" fmla="*/ 186 w 499"/>
                <a:gd name="T41" fmla="*/ 57 h 325"/>
                <a:gd name="T42" fmla="*/ 189 w 499"/>
                <a:gd name="T43" fmla="*/ 52 h 325"/>
                <a:gd name="T44" fmla="*/ 195 w 499"/>
                <a:gd name="T45" fmla="*/ 40 h 325"/>
                <a:gd name="T46" fmla="*/ 195 w 499"/>
                <a:gd name="T47" fmla="*/ 28 h 325"/>
                <a:gd name="T48" fmla="*/ 189 w 499"/>
                <a:gd name="T49" fmla="*/ 16 h 325"/>
                <a:gd name="T50" fmla="*/ 186 w 499"/>
                <a:gd name="T51" fmla="*/ 10 h 325"/>
                <a:gd name="T52" fmla="*/ 176 w 499"/>
                <a:gd name="T53" fmla="*/ 4 h 325"/>
                <a:gd name="T54" fmla="*/ 162 w 499"/>
                <a:gd name="T55" fmla="*/ 0 h 325"/>
                <a:gd name="T56" fmla="*/ 150 w 499"/>
                <a:gd name="T57" fmla="*/ 4 h 325"/>
                <a:gd name="T58" fmla="*/ 139 w 499"/>
                <a:gd name="T59" fmla="*/ 10 h 325"/>
                <a:gd name="T60" fmla="*/ 9 w 499"/>
                <a:gd name="T61" fmla="*/ 139 h 325"/>
                <a:gd name="T62" fmla="*/ 2 w 499"/>
                <a:gd name="T63" fmla="*/ 151 h 325"/>
                <a:gd name="T64" fmla="*/ 0 w 499"/>
                <a:gd name="T65" fmla="*/ 164 h 325"/>
                <a:gd name="T66" fmla="*/ 2 w 499"/>
                <a:gd name="T67" fmla="*/ 176 h 325"/>
                <a:gd name="T68" fmla="*/ 9 w 499"/>
                <a:gd name="T69" fmla="*/ 186 h 325"/>
                <a:gd name="T70" fmla="*/ 139 w 499"/>
                <a:gd name="T71" fmla="*/ 317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25">
                  <a:moveTo>
                    <a:pt x="139" y="317"/>
                  </a:moveTo>
                  <a:lnTo>
                    <a:pt x="139" y="317"/>
                  </a:lnTo>
                  <a:lnTo>
                    <a:pt x="144" y="320"/>
                  </a:lnTo>
                  <a:lnTo>
                    <a:pt x="150" y="324"/>
                  </a:lnTo>
                  <a:lnTo>
                    <a:pt x="156" y="325"/>
                  </a:lnTo>
                  <a:lnTo>
                    <a:pt x="162" y="325"/>
                  </a:lnTo>
                  <a:lnTo>
                    <a:pt x="162" y="325"/>
                  </a:lnTo>
                  <a:lnTo>
                    <a:pt x="169" y="325"/>
                  </a:lnTo>
                  <a:lnTo>
                    <a:pt x="176" y="324"/>
                  </a:lnTo>
                  <a:lnTo>
                    <a:pt x="181" y="320"/>
                  </a:lnTo>
                  <a:lnTo>
                    <a:pt x="186" y="317"/>
                  </a:lnTo>
                  <a:lnTo>
                    <a:pt x="186" y="317"/>
                  </a:lnTo>
                  <a:lnTo>
                    <a:pt x="189" y="311"/>
                  </a:lnTo>
                  <a:lnTo>
                    <a:pt x="193" y="306"/>
                  </a:lnTo>
                  <a:lnTo>
                    <a:pt x="195" y="299"/>
                  </a:lnTo>
                  <a:lnTo>
                    <a:pt x="195" y="292"/>
                  </a:lnTo>
                  <a:lnTo>
                    <a:pt x="195" y="287"/>
                  </a:lnTo>
                  <a:lnTo>
                    <a:pt x="193" y="280"/>
                  </a:lnTo>
                  <a:lnTo>
                    <a:pt x="189" y="275"/>
                  </a:lnTo>
                  <a:lnTo>
                    <a:pt x="186" y="270"/>
                  </a:lnTo>
                  <a:lnTo>
                    <a:pt x="113" y="197"/>
                  </a:lnTo>
                  <a:lnTo>
                    <a:pt x="466" y="197"/>
                  </a:lnTo>
                  <a:lnTo>
                    <a:pt x="466" y="197"/>
                  </a:lnTo>
                  <a:lnTo>
                    <a:pt x="473" y="195"/>
                  </a:lnTo>
                  <a:lnTo>
                    <a:pt x="478" y="193"/>
                  </a:lnTo>
                  <a:lnTo>
                    <a:pt x="485" y="191"/>
                  </a:lnTo>
                  <a:lnTo>
                    <a:pt x="489" y="186"/>
                  </a:lnTo>
                  <a:lnTo>
                    <a:pt x="494" y="181"/>
                  </a:lnTo>
                  <a:lnTo>
                    <a:pt x="497" y="176"/>
                  </a:lnTo>
                  <a:lnTo>
                    <a:pt x="499" y="170"/>
                  </a:lnTo>
                  <a:lnTo>
                    <a:pt x="499" y="164"/>
                  </a:lnTo>
                  <a:lnTo>
                    <a:pt x="499" y="164"/>
                  </a:lnTo>
                  <a:lnTo>
                    <a:pt x="499" y="157"/>
                  </a:lnTo>
                  <a:lnTo>
                    <a:pt x="497" y="150"/>
                  </a:lnTo>
                  <a:lnTo>
                    <a:pt x="494" y="144"/>
                  </a:lnTo>
                  <a:lnTo>
                    <a:pt x="489" y="139"/>
                  </a:lnTo>
                  <a:lnTo>
                    <a:pt x="485" y="136"/>
                  </a:lnTo>
                  <a:lnTo>
                    <a:pt x="478" y="132"/>
                  </a:lnTo>
                  <a:lnTo>
                    <a:pt x="473" y="130"/>
                  </a:lnTo>
                  <a:lnTo>
                    <a:pt x="466" y="130"/>
                  </a:lnTo>
                  <a:lnTo>
                    <a:pt x="113" y="130"/>
                  </a:lnTo>
                  <a:lnTo>
                    <a:pt x="186" y="57"/>
                  </a:lnTo>
                  <a:lnTo>
                    <a:pt x="186" y="57"/>
                  </a:lnTo>
                  <a:lnTo>
                    <a:pt x="189" y="52"/>
                  </a:lnTo>
                  <a:lnTo>
                    <a:pt x="193" y="45"/>
                  </a:lnTo>
                  <a:lnTo>
                    <a:pt x="195" y="40"/>
                  </a:lnTo>
                  <a:lnTo>
                    <a:pt x="195" y="33"/>
                  </a:lnTo>
                  <a:lnTo>
                    <a:pt x="195" y="28"/>
                  </a:lnTo>
                  <a:lnTo>
                    <a:pt x="193" y="21"/>
                  </a:lnTo>
                  <a:lnTo>
                    <a:pt x="189" y="16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1" y="5"/>
                  </a:lnTo>
                  <a:lnTo>
                    <a:pt x="176" y="4"/>
                  </a:lnTo>
                  <a:lnTo>
                    <a:pt x="169" y="2"/>
                  </a:lnTo>
                  <a:lnTo>
                    <a:pt x="162" y="0"/>
                  </a:lnTo>
                  <a:lnTo>
                    <a:pt x="156" y="2"/>
                  </a:lnTo>
                  <a:lnTo>
                    <a:pt x="150" y="4"/>
                  </a:lnTo>
                  <a:lnTo>
                    <a:pt x="144" y="5"/>
                  </a:lnTo>
                  <a:lnTo>
                    <a:pt x="139" y="10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5" y="144"/>
                  </a:lnTo>
                  <a:lnTo>
                    <a:pt x="2" y="151"/>
                  </a:lnTo>
                  <a:lnTo>
                    <a:pt x="0" y="157"/>
                  </a:lnTo>
                  <a:lnTo>
                    <a:pt x="0" y="164"/>
                  </a:lnTo>
                  <a:lnTo>
                    <a:pt x="0" y="169"/>
                  </a:lnTo>
                  <a:lnTo>
                    <a:pt x="2" y="176"/>
                  </a:lnTo>
                  <a:lnTo>
                    <a:pt x="5" y="181"/>
                  </a:lnTo>
                  <a:lnTo>
                    <a:pt x="9" y="186"/>
                  </a:lnTo>
                  <a:lnTo>
                    <a:pt x="139" y="317"/>
                  </a:lnTo>
                  <a:close/>
                  <a:moveTo>
                    <a:pt x="139" y="317"/>
                  </a:moveTo>
                  <a:lnTo>
                    <a:pt x="139" y="3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60">
              <a:extLst>
                <a:ext uri="{FF2B5EF4-FFF2-40B4-BE49-F238E27FC236}">
                  <a16:creationId xmlns:a16="http://schemas.microsoft.com/office/drawing/2014/main" id="{423B6A16-56BF-4E35-8471-0C3D6CF5D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420" y="1901001"/>
              <a:ext cx="395287" cy="258762"/>
            </a:xfrm>
            <a:custGeom>
              <a:avLst/>
              <a:gdLst>
                <a:gd name="T0" fmla="*/ 139 w 499"/>
                <a:gd name="T1" fmla="*/ 317 h 325"/>
                <a:gd name="T2" fmla="*/ 150 w 499"/>
                <a:gd name="T3" fmla="*/ 324 h 325"/>
                <a:gd name="T4" fmla="*/ 162 w 499"/>
                <a:gd name="T5" fmla="*/ 325 h 325"/>
                <a:gd name="T6" fmla="*/ 169 w 499"/>
                <a:gd name="T7" fmla="*/ 325 h 325"/>
                <a:gd name="T8" fmla="*/ 181 w 499"/>
                <a:gd name="T9" fmla="*/ 320 h 325"/>
                <a:gd name="T10" fmla="*/ 186 w 499"/>
                <a:gd name="T11" fmla="*/ 317 h 325"/>
                <a:gd name="T12" fmla="*/ 193 w 499"/>
                <a:gd name="T13" fmla="*/ 306 h 325"/>
                <a:gd name="T14" fmla="*/ 195 w 499"/>
                <a:gd name="T15" fmla="*/ 292 h 325"/>
                <a:gd name="T16" fmla="*/ 193 w 499"/>
                <a:gd name="T17" fmla="*/ 280 h 325"/>
                <a:gd name="T18" fmla="*/ 186 w 499"/>
                <a:gd name="T19" fmla="*/ 270 h 325"/>
                <a:gd name="T20" fmla="*/ 466 w 499"/>
                <a:gd name="T21" fmla="*/ 197 h 325"/>
                <a:gd name="T22" fmla="*/ 473 w 499"/>
                <a:gd name="T23" fmla="*/ 195 h 325"/>
                <a:gd name="T24" fmla="*/ 485 w 499"/>
                <a:gd name="T25" fmla="*/ 191 h 325"/>
                <a:gd name="T26" fmla="*/ 494 w 499"/>
                <a:gd name="T27" fmla="*/ 181 h 325"/>
                <a:gd name="T28" fmla="*/ 499 w 499"/>
                <a:gd name="T29" fmla="*/ 170 h 325"/>
                <a:gd name="T30" fmla="*/ 499 w 499"/>
                <a:gd name="T31" fmla="*/ 164 h 325"/>
                <a:gd name="T32" fmla="*/ 497 w 499"/>
                <a:gd name="T33" fmla="*/ 150 h 325"/>
                <a:gd name="T34" fmla="*/ 489 w 499"/>
                <a:gd name="T35" fmla="*/ 139 h 325"/>
                <a:gd name="T36" fmla="*/ 478 w 499"/>
                <a:gd name="T37" fmla="*/ 132 h 325"/>
                <a:gd name="T38" fmla="*/ 466 w 499"/>
                <a:gd name="T39" fmla="*/ 130 h 325"/>
                <a:gd name="T40" fmla="*/ 186 w 499"/>
                <a:gd name="T41" fmla="*/ 57 h 325"/>
                <a:gd name="T42" fmla="*/ 189 w 499"/>
                <a:gd name="T43" fmla="*/ 52 h 325"/>
                <a:gd name="T44" fmla="*/ 195 w 499"/>
                <a:gd name="T45" fmla="*/ 40 h 325"/>
                <a:gd name="T46" fmla="*/ 195 w 499"/>
                <a:gd name="T47" fmla="*/ 28 h 325"/>
                <a:gd name="T48" fmla="*/ 189 w 499"/>
                <a:gd name="T49" fmla="*/ 16 h 325"/>
                <a:gd name="T50" fmla="*/ 186 w 499"/>
                <a:gd name="T51" fmla="*/ 10 h 325"/>
                <a:gd name="T52" fmla="*/ 176 w 499"/>
                <a:gd name="T53" fmla="*/ 4 h 325"/>
                <a:gd name="T54" fmla="*/ 162 w 499"/>
                <a:gd name="T55" fmla="*/ 0 h 325"/>
                <a:gd name="T56" fmla="*/ 150 w 499"/>
                <a:gd name="T57" fmla="*/ 4 h 325"/>
                <a:gd name="T58" fmla="*/ 139 w 499"/>
                <a:gd name="T59" fmla="*/ 10 h 325"/>
                <a:gd name="T60" fmla="*/ 9 w 499"/>
                <a:gd name="T61" fmla="*/ 139 h 325"/>
                <a:gd name="T62" fmla="*/ 2 w 499"/>
                <a:gd name="T63" fmla="*/ 151 h 325"/>
                <a:gd name="T64" fmla="*/ 0 w 499"/>
                <a:gd name="T65" fmla="*/ 164 h 325"/>
                <a:gd name="T66" fmla="*/ 2 w 499"/>
                <a:gd name="T67" fmla="*/ 176 h 325"/>
                <a:gd name="T68" fmla="*/ 9 w 499"/>
                <a:gd name="T69" fmla="*/ 186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9" h="325">
                  <a:moveTo>
                    <a:pt x="139" y="317"/>
                  </a:moveTo>
                  <a:lnTo>
                    <a:pt x="139" y="317"/>
                  </a:lnTo>
                  <a:lnTo>
                    <a:pt x="144" y="320"/>
                  </a:lnTo>
                  <a:lnTo>
                    <a:pt x="150" y="324"/>
                  </a:lnTo>
                  <a:lnTo>
                    <a:pt x="156" y="325"/>
                  </a:lnTo>
                  <a:lnTo>
                    <a:pt x="162" y="325"/>
                  </a:lnTo>
                  <a:lnTo>
                    <a:pt x="162" y="325"/>
                  </a:lnTo>
                  <a:lnTo>
                    <a:pt x="169" y="325"/>
                  </a:lnTo>
                  <a:lnTo>
                    <a:pt x="176" y="324"/>
                  </a:lnTo>
                  <a:lnTo>
                    <a:pt x="181" y="320"/>
                  </a:lnTo>
                  <a:lnTo>
                    <a:pt x="186" y="317"/>
                  </a:lnTo>
                  <a:lnTo>
                    <a:pt x="186" y="317"/>
                  </a:lnTo>
                  <a:lnTo>
                    <a:pt x="189" y="311"/>
                  </a:lnTo>
                  <a:lnTo>
                    <a:pt x="193" y="306"/>
                  </a:lnTo>
                  <a:lnTo>
                    <a:pt x="195" y="299"/>
                  </a:lnTo>
                  <a:lnTo>
                    <a:pt x="195" y="292"/>
                  </a:lnTo>
                  <a:lnTo>
                    <a:pt x="195" y="287"/>
                  </a:lnTo>
                  <a:lnTo>
                    <a:pt x="193" y="280"/>
                  </a:lnTo>
                  <a:lnTo>
                    <a:pt x="189" y="275"/>
                  </a:lnTo>
                  <a:lnTo>
                    <a:pt x="186" y="270"/>
                  </a:lnTo>
                  <a:lnTo>
                    <a:pt x="113" y="197"/>
                  </a:lnTo>
                  <a:lnTo>
                    <a:pt x="466" y="197"/>
                  </a:lnTo>
                  <a:lnTo>
                    <a:pt x="466" y="197"/>
                  </a:lnTo>
                  <a:lnTo>
                    <a:pt x="473" y="195"/>
                  </a:lnTo>
                  <a:lnTo>
                    <a:pt x="478" y="193"/>
                  </a:lnTo>
                  <a:lnTo>
                    <a:pt x="485" y="191"/>
                  </a:lnTo>
                  <a:lnTo>
                    <a:pt x="489" y="186"/>
                  </a:lnTo>
                  <a:lnTo>
                    <a:pt x="494" y="181"/>
                  </a:lnTo>
                  <a:lnTo>
                    <a:pt x="497" y="176"/>
                  </a:lnTo>
                  <a:lnTo>
                    <a:pt x="499" y="170"/>
                  </a:lnTo>
                  <a:lnTo>
                    <a:pt x="499" y="164"/>
                  </a:lnTo>
                  <a:lnTo>
                    <a:pt x="499" y="164"/>
                  </a:lnTo>
                  <a:lnTo>
                    <a:pt x="499" y="157"/>
                  </a:lnTo>
                  <a:lnTo>
                    <a:pt x="497" y="150"/>
                  </a:lnTo>
                  <a:lnTo>
                    <a:pt x="494" y="144"/>
                  </a:lnTo>
                  <a:lnTo>
                    <a:pt x="489" y="139"/>
                  </a:lnTo>
                  <a:lnTo>
                    <a:pt x="485" y="136"/>
                  </a:lnTo>
                  <a:lnTo>
                    <a:pt x="478" y="132"/>
                  </a:lnTo>
                  <a:lnTo>
                    <a:pt x="473" y="130"/>
                  </a:lnTo>
                  <a:lnTo>
                    <a:pt x="466" y="130"/>
                  </a:lnTo>
                  <a:lnTo>
                    <a:pt x="113" y="130"/>
                  </a:lnTo>
                  <a:lnTo>
                    <a:pt x="186" y="57"/>
                  </a:lnTo>
                  <a:lnTo>
                    <a:pt x="186" y="57"/>
                  </a:lnTo>
                  <a:lnTo>
                    <a:pt x="189" y="52"/>
                  </a:lnTo>
                  <a:lnTo>
                    <a:pt x="193" y="45"/>
                  </a:lnTo>
                  <a:lnTo>
                    <a:pt x="195" y="40"/>
                  </a:lnTo>
                  <a:lnTo>
                    <a:pt x="195" y="33"/>
                  </a:lnTo>
                  <a:lnTo>
                    <a:pt x="195" y="28"/>
                  </a:lnTo>
                  <a:lnTo>
                    <a:pt x="193" y="21"/>
                  </a:lnTo>
                  <a:lnTo>
                    <a:pt x="189" y="16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1" y="5"/>
                  </a:lnTo>
                  <a:lnTo>
                    <a:pt x="176" y="4"/>
                  </a:lnTo>
                  <a:lnTo>
                    <a:pt x="169" y="2"/>
                  </a:lnTo>
                  <a:lnTo>
                    <a:pt x="162" y="0"/>
                  </a:lnTo>
                  <a:lnTo>
                    <a:pt x="156" y="2"/>
                  </a:lnTo>
                  <a:lnTo>
                    <a:pt x="150" y="4"/>
                  </a:lnTo>
                  <a:lnTo>
                    <a:pt x="144" y="5"/>
                  </a:lnTo>
                  <a:lnTo>
                    <a:pt x="139" y="10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5" y="144"/>
                  </a:lnTo>
                  <a:lnTo>
                    <a:pt x="2" y="151"/>
                  </a:lnTo>
                  <a:lnTo>
                    <a:pt x="0" y="157"/>
                  </a:lnTo>
                  <a:lnTo>
                    <a:pt x="0" y="164"/>
                  </a:lnTo>
                  <a:lnTo>
                    <a:pt x="0" y="169"/>
                  </a:lnTo>
                  <a:lnTo>
                    <a:pt x="2" y="176"/>
                  </a:lnTo>
                  <a:lnTo>
                    <a:pt x="5" y="181"/>
                  </a:lnTo>
                  <a:lnTo>
                    <a:pt x="9" y="186"/>
                  </a:lnTo>
                  <a:lnTo>
                    <a:pt x="139" y="317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Line 61">
              <a:extLst>
                <a:ext uri="{FF2B5EF4-FFF2-40B4-BE49-F238E27FC236}">
                  <a16:creationId xmlns:a16="http://schemas.microsoft.com/office/drawing/2014/main" id="{BA89A5F3-87FB-483A-A129-70BCB359E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545" y="215182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62">
              <a:extLst>
                <a:ext uri="{FF2B5EF4-FFF2-40B4-BE49-F238E27FC236}">
                  <a16:creationId xmlns:a16="http://schemas.microsoft.com/office/drawing/2014/main" id="{BB9C63C4-68C7-4EA7-B43F-7ADF4FC1C9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9007" y="1901001"/>
              <a:ext cx="395287" cy="258762"/>
            </a:xfrm>
            <a:custGeom>
              <a:avLst/>
              <a:gdLst>
                <a:gd name="T0" fmla="*/ 0 w 499"/>
                <a:gd name="T1" fmla="*/ 164 h 325"/>
                <a:gd name="T2" fmla="*/ 2 w 499"/>
                <a:gd name="T3" fmla="*/ 176 h 325"/>
                <a:gd name="T4" fmla="*/ 9 w 499"/>
                <a:gd name="T5" fmla="*/ 186 h 325"/>
                <a:gd name="T6" fmla="*/ 19 w 499"/>
                <a:gd name="T7" fmla="*/ 193 h 325"/>
                <a:gd name="T8" fmla="*/ 33 w 499"/>
                <a:gd name="T9" fmla="*/ 197 h 325"/>
                <a:gd name="T10" fmla="*/ 313 w 499"/>
                <a:gd name="T11" fmla="*/ 270 h 325"/>
                <a:gd name="T12" fmla="*/ 310 w 499"/>
                <a:gd name="T13" fmla="*/ 275 h 325"/>
                <a:gd name="T14" fmla="*/ 304 w 499"/>
                <a:gd name="T15" fmla="*/ 287 h 325"/>
                <a:gd name="T16" fmla="*/ 304 w 499"/>
                <a:gd name="T17" fmla="*/ 299 h 325"/>
                <a:gd name="T18" fmla="*/ 310 w 499"/>
                <a:gd name="T19" fmla="*/ 311 h 325"/>
                <a:gd name="T20" fmla="*/ 313 w 499"/>
                <a:gd name="T21" fmla="*/ 317 h 325"/>
                <a:gd name="T22" fmla="*/ 324 w 499"/>
                <a:gd name="T23" fmla="*/ 324 h 325"/>
                <a:gd name="T24" fmla="*/ 336 w 499"/>
                <a:gd name="T25" fmla="*/ 325 h 325"/>
                <a:gd name="T26" fmla="*/ 343 w 499"/>
                <a:gd name="T27" fmla="*/ 325 h 325"/>
                <a:gd name="T28" fmla="*/ 355 w 499"/>
                <a:gd name="T29" fmla="*/ 320 h 325"/>
                <a:gd name="T30" fmla="*/ 489 w 499"/>
                <a:gd name="T31" fmla="*/ 186 h 325"/>
                <a:gd name="T32" fmla="*/ 494 w 499"/>
                <a:gd name="T33" fmla="*/ 181 h 325"/>
                <a:gd name="T34" fmla="*/ 499 w 499"/>
                <a:gd name="T35" fmla="*/ 169 h 325"/>
                <a:gd name="T36" fmla="*/ 499 w 499"/>
                <a:gd name="T37" fmla="*/ 157 h 325"/>
                <a:gd name="T38" fmla="*/ 494 w 499"/>
                <a:gd name="T39" fmla="*/ 144 h 325"/>
                <a:gd name="T40" fmla="*/ 360 w 499"/>
                <a:gd name="T41" fmla="*/ 10 h 325"/>
                <a:gd name="T42" fmla="*/ 355 w 499"/>
                <a:gd name="T43" fmla="*/ 5 h 325"/>
                <a:gd name="T44" fmla="*/ 343 w 499"/>
                <a:gd name="T45" fmla="*/ 2 h 325"/>
                <a:gd name="T46" fmla="*/ 331 w 499"/>
                <a:gd name="T47" fmla="*/ 2 h 325"/>
                <a:gd name="T48" fmla="*/ 318 w 499"/>
                <a:gd name="T49" fmla="*/ 5 h 325"/>
                <a:gd name="T50" fmla="*/ 313 w 499"/>
                <a:gd name="T51" fmla="*/ 10 h 325"/>
                <a:gd name="T52" fmla="*/ 306 w 499"/>
                <a:gd name="T53" fmla="*/ 21 h 325"/>
                <a:gd name="T54" fmla="*/ 304 w 499"/>
                <a:gd name="T55" fmla="*/ 33 h 325"/>
                <a:gd name="T56" fmla="*/ 306 w 499"/>
                <a:gd name="T57" fmla="*/ 45 h 325"/>
                <a:gd name="T58" fmla="*/ 313 w 499"/>
                <a:gd name="T59" fmla="*/ 57 h 325"/>
                <a:gd name="T60" fmla="*/ 33 w 499"/>
                <a:gd name="T61" fmla="*/ 130 h 325"/>
                <a:gd name="T62" fmla="*/ 26 w 499"/>
                <a:gd name="T63" fmla="*/ 130 h 325"/>
                <a:gd name="T64" fmla="*/ 14 w 499"/>
                <a:gd name="T65" fmla="*/ 136 h 325"/>
                <a:gd name="T66" fmla="*/ 5 w 499"/>
                <a:gd name="T67" fmla="*/ 144 h 325"/>
                <a:gd name="T68" fmla="*/ 0 w 499"/>
                <a:gd name="T69" fmla="*/ 157 h 325"/>
                <a:gd name="T70" fmla="*/ 0 w 499"/>
                <a:gd name="T71" fmla="*/ 164 h 325"/>
                <a:gd name="T72" fmla="*/ 0 w 499"/>
                <a:gd name="T73" fmla="*/ 16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9" h="325">
                  <a:moveTo>
                    <a:pt x="0" y="164"/>
                  </a:moveTo>
                  <a:lnTo>
                    <a:pt x="0" y="164"/>
                  </a:lnTo>
                  <a:lnTo>
                    <a:pt x="0" y="170"/>
                  </a:lnTo>
                  <a:lnTo>
                    <a:pt x="2" y="176"/>
                  </a:lnTo>
                  <a:lnTo>
                    <a:pt x="5" y="181"/>
                  </a:lnTo>
                  <a:lnTo>
                    <a:pt x="9" y="186"/>
                  </a:lnTo>
                  <a:lnTo>
                    <a:pt x="14" y="191"/>
                  </a:lnTo>
                  <a:lnTo>
                    <a:pt x="19" y="193"/>
                  </a:lnTo>
                  <a:lnTo>
                    <a:pt x="26" y="195"/>
                  </a:lnTo>
                  <a:lnTo>
                    <a:pt x="33" y="197"/>
                  </a:lnTo>
                  <a:lnTo>
                    <a:pt x="386" y="197"/>
                  </a:lnTo>
                  <a:lnTo>
                    <a:pt x="313" y="270"/>
                  </a:lnTo>
                  <a:lnTo>
                    <a:pt x="313" y="270"/>
                  </a:lnTo>
                  <a:lnTo>
                    <a:pt x="310" y="275"/>
                  </a:lnTo>
                  <a:lnTo>
                    <a:pt x="306" y="280"/>
                  </a:lnTo>
                  <a:lnTo>
                    <a:pt x="304" y="287"/>
                  </a:lnTo>
                  <a:lnTo>
                    <a:pt x="304" y="292"/>
                  </a:lnTo>
                  <a:lnTo>
                    <a:pt x="304" y="299"/>
                  </a:lnTo>
                  <a:lnTo>
                    <a:pt x="306" y="306"/>
                  </a:lnTo>
                  <a:lnTo>
                    <a:pt x="310" y="311"/>
                  </a:lnTo>
                  <a:lnTo>
                    <a:pt x="313" y="317"/>
                  </a:lnTo>
                  <a:lnTo>
                    <a:pt x="313" y="317"/>
                  </a:lnTo>
                  <a:lnTo>
                    <a:pt x="318" y="320"/>
                  </a:lnTo>
                  <a:lnTo>
                    <a:pt x="324" y="324"/>
                  </a:lnTo>
                  <a:lnTo>
                    <a:pt x="331" y="325"/>
                  </a:lnTo>
                  <a:lnTo>
                    <a:pt x="336" y="325"/>
                  </a:lnTo>
                  <a:lnTo>
                    <a:pt x="336" y="325"/>
                  </a:lnTo>
                  <a:lnTo>
                    <a:pt x="343" y="325"/>
                  </a:lnTo>
                  <a:lnTo>
                    <a:pt x="348" y="324"/>
                  </a:lnTo>
                  <a:lnTo>
                    <a:pt x="355" y="320"/>
                  </a:lnTo>
                  <a:lnTo>
                    <a:pt x="360" y="317"/>
                  </a:lnTo>
                  <a:lnTo>
                    <a:pt x="489" y="186"/>
                  </a:lnTo>
                  <a:lnTo>
                    <a:pt x="489" y="186"/>
                  </a:lnTo>
                  <a:lnTo>
                    <a:pt x="494" y="181"/>
                  </a:lnTo>
                  <a:lnTo>
                    <a:pt x="497" y="176"/>
                  </a:lnTo>
                  <a:lnTo>
                    <a:pt x="499" y="169"/>
                  </a:lnTo>
                  <a:lnTo>
                    <a:pt x="499" y="164"/>
                  </a:lnTo>
                  <a:lnTo>
                    <a:pt x="499" y="157"/>
                  </a:lnTo>
                  <a:lnTo>
                    <a:pt x="497" y="151"/>
                  </a:lnTo>
                  <a:lnTo>
                    <a:pt x="494" y="144"/>
                  </a:lnTo>
                  <a:lnTo>
                    <a:pt x="489" y="139"/>
                  </a:lnTo>
                  <a:lnTo>
                    <a:pt x="360" y="10"/>
                  </a:lnTo>
                  <a:lnTo>
                    <a:pt x="360" y="10"/>
                  </a:lnTo>
                  <a:lnTo>
                    <a:pt x="355" y="5"/>
                  </a:lnTo>
                  <a:lnTo>
                    <a:pt x="350" y="4"/>
                  </a:lnTo>
                  <a:lnTo>
                    <a:pt x="343" y="2"/>
                  </a:lnTo>
                  <a:lnTo>
                    <a:pt x="336" y="0"/>
                  </a:lnTo>
                  <a:lnTo>
                    <a:pt x="331" y="2"/>
                  </a:lnTo>
                  <a:lnTo>
                    <a:pt x="324" y="4"/>
                  </a:lnTo>
                  <a:lnTo>
                    <a:pt x="318" y="5"/>
                  </a:lnTo>
                  <a:lnTo>
                    <a:pt x="313" y="10"/>
                  </a:lnTo>
                  <a:lnTo>
                    <a:pt x="313" y="10"/>
                  </a:lnTo>
                  <a:lnTo>
                    <a:pt x="310" y="16"/>
                  </a:lnTo>
                  <a:lnTo>
                    <a:pt x="306" y="21"/>
                  </a:lnTo>
                  <a:lnTo>
                    <a:pt x="304" y="28"/>
                  </a:lnTo>
                  <a:lnTo>
                    <a:pt x="304" y="33"/>
                  </a:lnTo>
                  <a:lnTo>
                    <a:pt x="304" y="40"/>
                  </a:lnTo>
                  <a:lnTo>
                    <a:pt x="306" y="45"/>
                  </a:lnTo>
                  <a:lnTo>
                    <a:pt x="310" y="52"/>
                  </a:lnTo>
                  <a:lnTo>
                    <a:pt x="313" y="57"/>
                  </a:lnTo>
                  <a:lnTo>
                    <a:pt x="386" y="130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26" y="130"/>
                  </a:lnTo>
                  <a:lnTo>
                    <a:pt x="19" y="132"/>
                  </a:lnTo>
                  <a:lnTo>
                    <a:pt x="14" y="136"/>
                  </a:lnTo>
                  <a:lnTo>
                    <a:pt x="9" y="139"/>
                  </a:lnTo>
                  <a:lnTo>
                    <a:pt x="5" y="144"/>
                  </a:lnTo>
                  <a:lnTo>
                    <a:pt x="2" y="150"/>
                  </a:lnTo>
                  <a:lnTo>
                    <a:pt x="0" y="157"/>
                  </a:lnTo>
                  <a:lnTo>
                    <a:pt x="0" y="164"/>
                  </a:lnTo>
                  <a:lnTo>
                    <a:pt x="0" y="164"/>
                  </a:lnTo>
                  <a:close/>
                  <a:moveTo>
                    <a:pt x="0" y="164"/>
                  </a:moveTo>
                  <a:lnTo>
                    <a:pt x="0" y="1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63">
              <a:extLst>
                <a:ext uri="{FF2B5EF4-FFF2-40B4-BE49-F238E27FC236}">
                  <a16:creationId xmlns:a16="http://schemas.microsoft.com/office/drawing/2014/main" id="{7451399A-8AFB-476F-AF4D-97D989FFE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007" y="1901001"/>
              <a:ext cx="395287" cy="258762"/>
            </a:xfrm>
            <a:custGeom>
              <a:avLst/>
              <a:gdLst>
                <a:gd name="T0" fmla="*/ 0 w 499"/>
                <a:gd name="T1" fmla="*/ 164 h 325"/>
                <a:gd name="T2" fmla="*/ 2 w 499"/>
                <a:gd name="T3" fmla="*/ 176 h 325"/>
                <a:gd name="T4" fmla="*/ 9 w 499"/>
                <a:gd name="T5" fmla="*/ 186 h 325"/>
                <a:gd name="T6" fmla="*/ 19 w 499"/>
                <a:gd name="T7" fmla="*/ 193 h 325"/>
                <a:gd name="T8" fmla="*/ 33 w 499"/>
                <a:gd name="T9" fmla="*/ 197 h 325"/>
                <a:gd name="T10" fmla="*/ 313 w 499"/>
                <a:gd name="T11" fmla="*/ 270 h 325"/>
                <a:gd name="T12" fmla="*/ 310 w 499"/>
                <a:gd name="T13" fmla="*/ 275 h 325"/>
                <a:gd name="T14" fmla="*/ 304 w 499"/>
                <a:gd name="T15" fmla="*/ 287 h 325"/>
                <a:gd name="T16" fmla="*/ 304 w 499"/>
                <a:gd name="T17" fmla="*/ 299 h 325"/>
                <a:gd name="T18" fmla="*/ 310 w 499"/>
                <a:gd name="T19" fmla="*/ 311 h 325"/>
                <a:gd name="T20" fmla="*/ 313 w 499"/>
                <a:gd name="T21" fmla="*/ 317 h 325"/>
                <a:gd name="T22" fmla="*/ 324 w 499"/>
                <a:gd name="T23" fmla="*/ 324 h 325"/>
                <a:gd name="T24" fmla="*/ 336 w 499"/>
                <a:gd name="T25" fmla="*/ 325 h 325"/>
                <a:gd name="T26" fmla="*/ 343 w 499"/>
                <a:gd name="T27" fmla="*/ 325 h 325"/>
                <a:gd name="T28" fmla="*/ 355 w 499"/>
                <a:gd name="T29" fmla="*/ 320 h 325"/>
                <a:gd name="T30" fmla="*/ 489 w 499"/>
                <a:gd name="T31" fmla="*/ 186 h 325"/>
                <a:gd name="T32" fmla="*/ 494 w 499"/>
                <a:gd name="T33" fmla="*/ 181 h 325"/>
                <a:gd name="T34" fmla="*/ 499 w 499"/>
                <a:gd name="T35" fmla="*/ 169 h 325"/>
                <a:gd name="T36" fmla="*/ 499 w 499"/>
                <a:gd name="T37" fmla="*/ 157 h 325"/>
                <a:gd name="T38" fmla="*/ 494 w 499"/>
                <a:gd name="T39" fmla="*/ 144 h 325"/>
                <a:gd name="T40" fmla="*/ 360 w 499"/>
                <a:gd name="T41" fmla="*/ 10 h 325"/>
                <a:gd name="T42" fmla="*/ 355 w 499"/>
                <a:gd name="T43" fmla="*/ 5 h 325"/>
                <a:gd name="T44" fmla="*/ 343 w 499"/>
                <a:gd name="T45" fmla="*/ 2 h 325"/>
                <a:gd name="T46" fmla="*/ 331 w 499"/>
                <a:gd name="T47" fmla="*/ 2 h 325"/>
                <a:gd name="T48" fmla="*/ 318 w 499"/>
                <a:gd name="T49" fmla="*/ 5 h 325"/>
                <a:gd name="T50" fmla="*/ 313 w 499"/>
                <a:gd name="T51" fmla="*/ 10 h 325"/>
                <a:gd name="T52" fmla="*/ 306 w 499"/>
                <a:gd name="T53" fmla="*/ 21 h 325"/>
                <a:gd name="T54" fmla="*/ 304 w 499"/>
                <a:gd name="T55" fmla="*/ 33 h 325"/>
                <a:gd name="T56" fmla="*/ 306 w 499"/>
                <a:gd name="T57" fmla="*/ 45 h 325"/>
                <a:gd name="T58" fmla="*/ 313 w 499"/>
                <a:gd name="T59" fmla="*/ 57 h 325"/>
                <a:gd name="T60" fmla="*/ 33 w 499"/>
                <a:gd name="T61" fmla="*/ 130 h 325"/>
                <a:gd name="T62" fmla="*/ 26 w 499"/>
                <a:gd name="T63" fmla="*/ 130 h 325"/>
                <a:gd name="T64" fmla="*/ 14 w 499"/>
                <a:gd name="T65" fmla="*/ 136 h 325"/>
                <a:gd name="T66" fmla="*/ 5 w 499"/>
                <a:gd name="T67" fmla="*/ 144 h 325"/>
                <a:gd name="T68" fmla="*/ 0 w 499"/>
                <a:gd name="T69" fmla="*/ 157 h 325"/>
                <a:gd name="T70" fmla="*/ 0 w 499"/>
                <a:gd name="T71" fmla="*/ 16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25">
                  <a:moveTo>
                    <a:pt x="0" y="164"/>
                  </a:moveTo>
                  <a:lnTo>
                    <a:pt x="0" y="164"/>
                  </a:lnTo>
                  <a:lnTo>
                    <a:pt x="0" y="170"/>
                  </a:lnTo>
                  <a:lnTo>
                    <a:pt x="2" y="176"/>
                  </a:lnTo>
                  <a:lnTo>
                    <a:pt x="5" y="181"/>
                  </a:lnTo>
                  <a:lnTo>
                    <a:pt x="9" y="186"/>
                  </a:lnTo>
                  <a:lnTo>
                    <a:pt x="14" y="191"/>
                  </a:lnTo>
                  <a:lnTo>
                    <a:pt x="19" y="193"/>
                  </a:lnTo>
                  <a:lnTo>
                    <a:pt x="26" y="195"/>
                  </a:lnTo>
                  <a:lnTo>
                    <a:pt x="33" y="197"/>
                  </a:lnTo>
                  <a:lnTo>
                    <a:pt x="386" y="197"/>
                  </a:lnTo>
                  <a:lnTo>
                    <a:pt x="313" y="270"/>
                  </a:lnTo>
                  <a:lnTo>
                    <a:pt x="313" y="270"/>
                  </a:lnTo>
                  <a:lnTo>
                    <a:pt x="310" y="275"/>
                  </a:lnTo>
                  <a:lnTo>
                    <a:pt x="306" y="280"/>
                  </a:lnTo>
                  <a:lnTo>
                    <a:pt x="304" y="287"/>
                  </a:lnTo>
                  <a:lnTo>
                    <a:pt x="304" y="292"/>
                  </a:lnTo>
                  <a:lnTo>
                    <a:pt x="304" y="299"/>
                  </a:lnTo>
                  <a:lnTo>
                    <a:pt x="306" y="306"/>
                  </a:lnTo>
                  <a:lnTo>
                    <a:pt x="310" y="311"/>
                  </a:lnTo>
                  <a:lnTo>
                    <a:pt x="313" y="317"/>
                  </a:lnTo>
                  <a:lnTo>
                    <a:pt x="313" y="317"/>
                  </a:lnTo>
                  <a:lnTo>
                    <a:pt x="318" y="320"/>
                  </a:lnTo>
                  <a:lnTo>
                    <a:pt x="324" y="324"/>
                  </a:lnTo>
                  <a:lnTo>
                    <a:pt x="331" y="325"/>
                  </a:lnTo>
                  <a:lnTo>
                    <a:pt x="336" y="325"/>
                  </a:lnTo>
                  <a:lnTo>
                    <a:pt x="336" y="325"/>
                  </a:lnTo>
                  <a:lnTo>
                    <a:pt x="343" y="325"/>
                  </a:lnTo>
                  <a:lnTo>
                    <a:pt x="348" y="324"/>
                  </a:lnTo>
                  <a:lnTo>
                    <a:pt x="355" y="320"/>
                  </a:lnTo>
                  <a:lnTo>
                    <a:pt x="360" y="317"/>
                  </a:lnTo>
                  <a:lnTo>
                    <a:pt x="489" y="186"/>
                  </a:lnTo>
                  <a:lnTo>
                    <a:pt x="489" y="186"/>
                  </a:lnTo>
                  <a:lnTo>
                    <a:pt x="494" y="181"/>
                  </a:lnTo>
                  <a:lnTo>
                    <a:pt x="497" y="176"/>
                  </a:lnTo>
                  <a:lnTo>
                    <a:pt x="499" y="169"/>
                  </a:lnTo>
                  <a:lnTo>
                    <a:pt x="499" y="164"/>
                  </a:lnTo>
                  <a:lnTo>
                    <a:pt x="499" y="157"/>
                  </a:lnTo>
                  <a:lnTo>
                    <a:pt x="497" y="151"/>
                  </a:lnTo>
                  <a:lnTo>
                    <a:pt x="494" y="144"/>
                  </a:lnTo>
                  <a:lnTo>
                    <a:pt x="489" y="139"/>
                  </a:lnTo>
                  <a:lnTo>
                    <a:pt x="360" y="10"/>
                  </a:lnTo>
                  <a:lnTo>
                    <a:pt x="360" y="10"/>
                  </a:lnTo>
                  <a:lnTo>
                    <a:pt x="355" y="5"/>
                  </a:lnTo>
                  <a:lnTo>
                    <a:pt x="350" y="4"/>
                  </a:lnTo>
                  <a:lnTo>
                    <a:pt x="343" y="2"/>
                  </a:lnTo>
                  <a:lnTo>
                    <a:pt x="336" y="0"/>
                  </a:lnTo>
                  <a:lnTo>
                    <a:pt x="331" y="2"/>
                  </a:lnTo>
                  <a:lnTo>
                    <a:pt x="324" y="4"/>
                  </a:lnTo>
                  <a:lnTo>
                    <a:pt x="318" y="5"/>
                  </a:lnTo>
                  <a:lnTo>
                    <a:pt x="313" y="10"/>
                  </a:lnTo>
                  <a:lnTo>
                    <a:pt x="313" y="10"/>
                  </a:lnTo>
                  <a:lnTo>
                    <a:pt x="310" y="16"/>
                  </a:lnTo>
                  <a:lnTo>
                    <a:pt x="306" y="21"/>
                  </a:lnTo>
                  <a:lnTo>
                    <a:pt x="304" y="28"/>
                  </a:lnTo>
                  <a:lnTo>
                    <a:pt x="304" y="33"/>
                  </a:lnTo>
                  <a:lnTo>
                    <a:pt x="304" y="40"/>
                  </a:lnTo>
                  <a:lnTo>
                    <a:pt x="306" y="45"/>
                  </a:lnTo>
                  <a:lnTo>
                    <a:pt x="310" y="52"/>
                  </a:lnTo>
                  <a:lnTo>
                    <a:pt x="313" y="57"/>
                  </a:lnTo>
                  <a:lnTo>
                    <a:pt x="386" y="130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26" y="130"/>
                  </a:lnTo>
                  <a:lnTo>
                    <a:pt x="19" y="132"/>
                  </a:lnTo>
                  <a:lnTo>
                    <a:pt x="14" y="136"/>
                  </a:lnTo>
                  <a:lnTo>
                    <a:pt x="9" y="139"/>
                  </a:lnTo>
                  <a:lnTo>
                    <a:pt x="5" y="144"/>
                  </a:lnTo>
                  <a:lnTo>
                    <a:pt x="2" y="150"/>
                  </a:lnTo>
                  <a:lnTo>
                    <a:pt x="0" y="157"/>
                  </a:lnTo>
                  <a:lnTo>
                    <a:pt x="0" y="164"/>
                  </a:lnTo>
                  <a:lnTo>
                    <a:pt x="0" y="164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Line 64">
              <a:extLst>
                <a:ext uri="{FF2B5EF4-FFF2-40B4-BE49-F238E27FC236}">
                  <a16:creationId xmlns:a16="http://schemas.microsoft.com/office/drawing/2014/main" id="{54A12EE7-465A-447E-9D79-1A64161023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39007" y="203117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65">
              <a:extLst>
                <a:ext uri="{FF2B5EF4-FFF2-40B4-BE49-F238E27FC236}">
                  <a16:creationId xmlns:a16="http://schemas.microsoft.com/office/drawing/2014/main" id="{F284A800-0237-4EAB-B969-DAD7B1F82D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857" y="1523176"/>
              <a:ext cx="295275" cy="295275"/>
            </a:xfrm>
            <a:custGeom>
              <a:avLst/>
              <a:gdLst>
                <a:gd name="T0" fmla="*/ 251 w 372"/>
                <a:gd name="T1" fmla="*/ 33 h 372"/>
                <a:gd name="T2" fmla="*/ 247 w 372"/>
                <a:gd name="T3" fmla="*/ 20 h 372"/>
                <a:gd name="T4" fmla="*/ 240 w 372"/>
                <a:gd name="T5" fmla="*/ 10 h 372"/>
                <a:gd name="T6" fmla="*/ 230 w 372"/>
                <a:gd name="T7" fmla="*/ 3 h 372"/>
                <a:gd name="T8" fmla="*/ 218 w 372"/>
                <a:gd name="T9" fmla="*/ 0 h 372"/>
                <a:gd name="T10" fmla="*/ 33 w 372"/>
                <a:gd name="T11" fmla="*/ 0 h 372"/>
                <a:gd name="T12" fmla="*/ 21 w 372"/>
                <a:gd name="T13" fmla="*/ 3 h 372"/>
                <a:gd name="T14" fmla="*/ 11 w 372"/>
                <a:gd name="T15" fmla="*/ 10 h 372"/>
                <a:gd name="T16" fmla="*/ 4 w 372"/>
                <a:gd name="T17" fmla="*/ 20 h 372"/>
                <a:gd name="T18" fmla="*/ 0 w 372"/>
                <a:gd name="T19" fmla="*/ 33 h 372"/>
                <a:gd name="T20" fmla="*/ 0 w 372"/>
                <a:gd name="T21" fmla="*/ 217 h 372"/>
                <a:gd name="T22" fmla="*/ 4 w 372"/>
                <a:gd name="T23" fmla="*/ 229 h 372"/>
                <a:gd name="T24" fmla="*/ 11 w 372"/>
                <a:gd name="T25" fmla="*/ 240 h 372"/>
                <a:gd name="T26" fmla="*/ 21 w 372"/>
                <a:gd name="T27" fmla="*/ 246 h 372"/>
                <a:gd name="T28" fmla="*/ 33 w 372"/>
                <a:gd name="T29" fmla="*/ 250 h 372"/>
                <a:gd name="T30" fmla="*/ 40 w 372"/>
                <a:gd name="T31" fmla="*/ 248 h 372"/>
                <a:gd name="T32" fmla="*/ 52 w 372"/>
                <a:gd name="T33" fmla="*/ 243 h 372"/>
                <a:gd name="T34" fmla="*/ 61 w 372"/>
                <a:gd name="T35" fmla="*/ 234 h 372"/>
                <a:gd name="T36" fmla="*/ 66 w 372"/>
                <a:gd name="T37" fmla="*/ 224 h 372"/>
                <a:gd name="T38" fmla="*/ 66 w 372"/>
                <a:gd name="T39" fmla="*/ 113 h 372"/>
                <a:gd name="T40" fmla="*/ 317 w 372"/>
                <a:gd name="T41" fmla="*/ 363 h 372"/>
                <a:gd name="T42" fmla="*/ 327 w 372"/>
                <a:gd name="T43" fmla="*/ 370 h 372"/>
                <a:gd name="T44" fmla="*/ 341 w 372"/>
                <a:gd name="T45" fmla="*/ 372 h 372"/>
                <a:gd name="T46" fmla="*/ 346 w 372"/>
                <a:gd name="T47" fmla="*/ 372 h 372"/>
                <a:gd name="T48" fmla="*/ 358 w 372"/>
                <a:gd name="T49" fmla="*/ 366 h 372"/>
                <a:gd name="T50" fmla="*/ 364 w 372"/>
                <a:gd name="T51" fmla="*/ 363 h 372"/>
                <a:gd name="T52" fmla="*/ 371 w 372"/>
                <a:gd name="T53" fmla="*/ 351 h 372"/>
                <a:gd name="T54" fmla="*/ 372 w 372"/>
                <a:gd name="T55" fmla="*/ 339 h 372"/>
                <a:gd name="T56" fmla="*/ 371 w 372"/>
                <a:gd name="T57" fmla="*/ 326 h 372"/>
                <a:gd name="T58" fmla="*/ 364 w 372"/>
                <a:gd name="T59" fmla="*/ 316 h 372"/>
                <a:gd name="T60" fmla="*/ 218 w 372"/>
                <a:gd name="T61" fmla="*/ 66 h 372"/>
                <a:gd name="T62" fmla="*/ 225 w 372"/>
                <a:gd name="T63" fmla="*/ 66 h 372"/>
                <a:gd name="T64" fmla="*/ 235 w 372"/>
                <a:gd name="T65" fmla="*/ 60 h 372"/>
                <a:gd name="T66" fmla="*/ 245 w 372"/>
                <a:gd name="T67" fmla="*/ 52 h 372"/>
                <a:gd name="T68" fmla="*/ 249 w 372"/>
                <a:gd name="T69" fmla="*/ 40 h 372"/>
                <a:gd name="T70" fmla="*/ 251 w 372"/>
                <a:gd name="T71" fmla="*/ 33 h 372"/>
                <a:gd name="T72" fmla="*/ 251 w 372"/>
                <a:gd name="T73" fmla="*/ 3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2" h="372">
                  <a:moveTo>
                    <a:pt x="251" y="33"/>
                  </a:moveTo>
                  <a:lnTo>
                    <a:pt x="251" y="33"/>
                  </a:lnTo>
                  <a:lnTo>
                    <a:pt x="249" y="26"/>
                  </a:lnTo>
                  <a:lnTo>
                    <a:pt x="247" y="20"/>
                  </a:lnTo>
                  <a:lnTo>
                    <a:pt x="245" y="15"/>
                  </a:lnTo>
                  <a:lnTo>
                    <a:pt x="240" y="10"/>
                  </a:lnTo>
                  <a:lnTo>
                    <a:pt x="235" y="5"/>
                  </a:lnTo>
                  <a:lnTo>
                    <a:pt x="230" y="3"/>
                  </a:lnTo>
                  <a:lnTo>
                    <a:pt x="225" y="1"/>
                  </a:lnTo>
                  <a:lnTo>
                    <a:pt x="218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21" y="3"/>
                  </a:lnTo>
                  <a:lnTo>
                    <a:pt x="16" y="5"/>
                  </a:lnTo>
                  <a:lnTo>
                    <a:pt x="11" y="10"/>
                  </a:lnTo>
                  <a:lnTo>
                    <a:pt x="7" y="15"/>
                  </a:lnTo>
                  <a:lnTo>
                    <a:pt x="4" y="20"/>
                  </a:lnTo>
                  <a:lnTo>
                    <a:pt x="2" y="26"/>
                  </a:lnTo>
                  <a:lnTo>
                    <a:pt x="0" y="33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2" y="224"/>
                  </a:lnTo>
                  <a:lnTo>
                    <a:pt x="4" y="229"/>
                  </a:lnTo>
                  <a:lnTo>
                    <a:pt x="7" y="234"/>
                  </a:lnTo>
                  <a:lnTo>
                    <a:pt x="11" y="240"/>
                  </a:lnTo>
                  <a:lnTo>
                    <a:pt x="16" y="243"/>
                  </a:lnTo>
                  <a:lnTo>
                    <a:pt x="21" y="246"/>
                  </a:lnTo>
                  <a:lnTo>
                    <a:pt x="26" y="248"/>
                  </a:lnTo>
                  <a:lnTo>
                    <a:pt x="33" y="250"/>
                  </a:lnTo>
                  <a:lnTo>
                    <a:pt x="33" y="250"/>
                  </a:lnTo>
                  <a:lnTo>
                    <a:pt x="40" y="248"/>
                  </a:lnTo>
                  <a:lnTo>
                    <a:pt x="47" y="246"/>
                  </a:lnTo>
                  <a:lnTo>
                    <a:pt x="52" y="243"/>
                  </a:lnTo>
                  <a:lnTo>
                    <a:pt x="58" y="240"/>
                  </a:lnTo>
                  <a:lnTo>
                    <a:pt x="61" y="234"/>
                  </a:lnTo>
                  <a:lnTo>
                    <a:pt x="65" y="229"/>
                  </a:lnTo>
                  <a:lnTo>
                    <a:pt x="66" y="224"/>
                  </a:lnTo>
                  <a:lnTo>
                    <a:pt x="66" y="217"/>
                  </a:lnTo>
                  <a:lnTo>
                    <a:pt x="66" y="113"/>
                  </a:lnTo>
                  <a:lnTo>
                    <a:pt x="317" y="363"/>
                  </a:lnTo>
                  <a:lnTo>
                    <a:pt x="317" y="363"/>
                  </a:lnTo>
                  <a:lnTo>
                    <a:pt x="322" y="366"/>
                  </a:lnTo>
                  <a:lnTo>
                    <a:pt x="327" y="370"/>
                  </a:lnTo>
                  <a:lnTo>
                    <a:pt x="334" y="372"/>
                  </a:lnTo>
                  <a:lnTo>
                    <a:pt x="341" y="372"/>
                  </a:lnTo>
                  <a:lnTo>
                    <a:pt x="341" y="372"/>
                  </a:lnTo>
                  <a:lnTo>
                    <a:pt x="346" y="372"/>
                  </a:lnTo>
                  <a:lnTo>
                    <a:pt x="353" y="370"/>
                  </a:lnTo>
                  <a:lnTo>
                    <a:pt x="358" y="366"/>
                  </a:lnTo>
                  <a:lnTo>
                    <a:pt x="364" y="363"/>
                  </a:lnTo>
                  <a:lnTo>
                    <a:pt x="364" y="363"/>
                  </a:lnTo>
                  <a:lnTo>
                    <a:pt x="367" y="358"/>
                  </a:lnTo>
                  <a:lnTo>
                    <a:pt x="371" y="351"/>
                  </a:lnTo>
                  <a:lnTo>
                    <a:pt x="372" y="346"/>
                  </a:lnTo>
                  <a:lnTo>
                    <a:pt x="372" y="339"/>
                  </a:lnTo>
                  <a:lnTo>
                    <a:pt x="372" y="333"/>
                  </a:lnTo>
                  <a:lnTo>
                    <a:pt x="371" y="326"/>
                  </a:lnTo>
                  <a:lnTo>
                    <a:pt x="367" y="321"/>
                  </a:lnTo>
                  <a:lnTo>
                    <a:pt x="364" y="316"/>
                  </a:lnTo>
                  <a:lnTo>
                    <a:pt x="113" y="66"/>
                  </a:lnTo>
                  <a:lnTo>
                    <a:pt x="218" y="66"/>
                  </a:lnTo>
                  <a:lnTo>
                    <a:pt x="218" y="66"/>
                  </a:lnTo>
                  <a:lnTo>
                    <a:pt x="225" y="66"/>
                  </a:lnTo>
                  <a:lnTo>
                    <a:pt x="230" y="64"/>
                  </a:lnTo>
                  <a:lnTo>
                    <a:pt x="235" y="60"/>
                  </a:lnTo>
                  <a:lnTo>
                    <a:pt x="240" y="57"/>
                  </a:lnTo>
                  <a:lnTo>
                    <a:pt x="245" y="52"/>
                  </a:lnTo>
                  <a:lnTo>
                    <a:pt x="247" y="46"/>
                  </a:lnTo>
                  <a:lnTo>
                    <a:pt x="249" y="40"/>
                  </a:lnTo>
                  <a:lnTo>
                    <a:pt x="251" y="33"/>
                  </a:lnTo>
                  <a:lnTo>
                    <a:pt x="251" y="33"/>
                  </a:lnTo>
                  <a:close/>
                  <a:moveTo>
                    <a:pt x="251" y="33"/>
                  </a:moveTo>
                  <a:lnTo>
                    <a:pt x="251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66">
              <a:extLst>
                <a:ext uri="{FF2B5EF4-FFF2-40B4-BE49-F238E27FC236}">
                  <a16:creationId xmlns:a16="http://schemas.microsoft.com/office/drawing/2014/main" id="{30C33741-A0A4-482D-8FAC-741E31A18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57" y="1523176"/>
              <a:ext cx="295275" cy="295275"/>
            </a:xfrm>
            <a:custGeom>
              <a:avLst/>
              <a:gdLst>
                <a:gd name="T0" fmla="*/ 251 w 372"/>
                <a:gd name="T1" fmla="*/ 33 h 372"/>
                <a:gd name="T2" fmla="*/ 247 w 372"/>
                <a:gd name="T3" fmla="*/ 20 h 372"/>
                <a:gd name="T4" fmla="*/ 240 w 372"/>
                <a:gd name="T5" fmla="*/ 10 h 372"/>
                <a:gd name="T6" fmla="*/ 230 w 372"/>
                <a:gd name="T7" fmla="*/ 3 h 372"/>
                <a:gd name="T8" fmla="*/ 218 w 372"/>
                <a:gd name="T9" fmla="*/ 0 h 372"/>
                <a:gd name="T10" fmla="*/ 33 w 372"/>
                <a:gd name="T11" fmla="*/ 0 h 372"/>
                <a:gd name="T12" fmla="*/ 21 w 372"/>
                <a:gd name="T13" fmla="*/ 3 h 372"/>
                <a:gd name="T14" fmla="*/ 11 w 372"/>
                <a:gd name="T15" fmla="*/ 10 h 372"/>
                <a:gd name="T16" fmla="*/ 4 w 372"/>
                <a:gd name="T17" fmla="*/ 20 h 372"/>
                <a:gd name="T18" fmla="*/ 0 w 372"/>
                <a:gd name="T19" fmla="*/ 33 h 372"/>
                <a:gd name="T20" fmla="*/ 0 w 372"/>
                <a:gd name="T21" fmla="*/ 217 h 372"/>
                <a:gd name="T22" fmla="*/ 4 w 372"/>
                <a:gd name="T23" fmla="*/ 229 h 372"/>
                <a:gd name="T24" fmla="*/ 11 w 372"/>
                <a:gd name="T25" fmla="*/ 240 h 372"/>
                <a:gd name="T26" fmla="*/ 21 w 372"/>
                <a:gd name="T27" fmla="*/ 246 h 372"/>
                <a:gd name="T28" fmla="*/ 33 w 372"/>
                <a:gd name="T29" fmla="*/ 250 h 372"/>
                <a:gd name="T30" fmla="*/ 40 w 372"/>
                <a:gd name="T31" fmla="*/ 248 h 372"/>
                <a:gd name="T32" fmla="*/ 52 w 372"/>
                <a:gd name="T33" fmla="*/ 243 h 372"/>
                <a:gd name="T34" fmla="*/ 61 w 372"/>
                <a:gd name="T35" fmla="*/ 234 h 372"/>
                <a:gd name="T36" fmla="*/ 66 w 372"/>
                <a:gd name="T37" fmla="*/ 224 h 372"/>
                <a:gd name="T38" fmla="*/ 66 w 372"/>
                <a:gd name="T39" fmla="*/ 113 h 372"/>
                <a:gd name="T40" fmla="*/ 317 w 372"/>
                <a:gd name="T41" fmla="*/ 363 h 372"/>
                <a:gd name="T42" fmla="*/ 327 w 372"/>
                <a:gd name="T43" fmla="*/ 370 h 372"/>
                <a:gd name="T44" fmla="*/ 341 w 372"/>
                <a:gd name="T45" fmla="*/ 372 h 372"/>
                <a:gd name="T46" fmla="*/ 346 w 372"/>
                <a:gd name="T47" fmla="*/ 372 h 372"/>
                <a:gd name="T48" fmla="*/ 358 w 372"/>
                <a:gd name="T49" fmla="*/ 366 h 372"/>
                <a:gd name="T50" fmla="*/ 364 w 372"/>
                <a:gd name="T51" fmla="*/ 363 h 372"/>
                <a:gd name="T52" fmla="*/ 371 w 372"/>
                <a:gd name="T53" fmla="*/ 351 h 372"/>
                <a:gd name="T54" fmla="*/ 372 w 372"/>
                <a:gd name="T55" fmla="*/ 339 h 372"/>
                <a:gd name="T56" fmla="*/ 371 w 372"/>
                <a:gd name="T57" fmla="*/ 326 h 372"/>
                <a:gd name="T58" fmla="*/ 364 w 372"/>
                <a:gd name="T59" fmla="*/ 316 h 372"/>
                <a:gd name="T60" fmla="*/ 218 w 372"/>
                <a:gd name="T61" fmla="*/ 66 h 372"/>
                <a:gd name="T62" fmla="*/ 225 w 372"/>
                <a:gd name="T63" fmla="*/ 66 h 372"/>
                <a:gd name="T64" fmla="*/ 235 w 372"/>
                <a:gd name="T65" fmla="*/ 60 h 372"/>
                <a:gd name="T66" fmla="*/ 245 w 372"/>
                <a:gd name="T67" fmla="*/ 52 h 372"/>
                <a:gd name="T68" fmla="*/ 249 w 372"/>
                <a:gd name="T69" fmla="*/ 40 h 372"/>
                <a:gd name="T70" fmla="*/ 251 w 372"/>
                <a:gd name="T71" fmla="*/ 3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2" h="372">
                  <a:moveTo>
                    <a:pt x="251" y="33"/>
                  </a:moveTo>
                  <a:lnTo>
                    <a:pt x="251" y="33"/>
                  </a:lnTo>
                  <a:lnTo>
                    <a:pt x="249" y="26"/>
                  </a:lnTo>
                  <a:lnTo>
                    <a:pt x="247" y="20"/>
                  </a:lnTo>
                  <a:lnTo>
                    <a:pt x="245" y="15"/>
                  </a:lnTo>
                  <a:lnTo>
                    <a:pt x="240" y="10"/>
                  </a:lnTo>
                  <a:lnTo>
                    <a:pt x="235" y="5"/>
                  </a:lnTo>
                  <a:lnTo>
                    <a:pt x="230" y="3"/>
                  </a:lnTo>
                  <a:lnTo>
                    <a:pt x="225" y="1"/>
                  </a:lnTo>
                  <a:lnTo>
                    <a:pt x="218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21" y="3"/>
                  </a:lnTo>
                  <a:lnTo>
                    <a:pt x="16" y="5"/>
                  </a:lnTo>
                  <a:lnTo>
                    <a:pt x="11" y="10"/>
                  </a:lnTo>
                  <a:lnTo>
                    <a:pt x="7" y="15"/>
                  </a:lnTo>
                  <a:lnTo>
                    <a:pt x="4" y="20"/>
                  </a:lnTo>
                  <a:lnTo>
                    <a:pt x="2" y="26"/>
                  </a:lnTo>
                  <a:lnTo>
                    <a:pt x="0" y="33"/>
                  </a:lnTo>
                  <a:lnTo>
                    <a:pt x="0" y="217"/>
                  </a:lnTo>
                  <a:lnTo>
                    <a:pt x="0" y="217"/>
                  </a:lnTo>
                  <a:lnTo>
                    <a:pt x="2" y="224"/>
                  </a:lnTo>
                  <a:lnTo>
                    <a:pt x="4" y="229"/>
                  </a:lnTo>
                  <a:lnTo>
                    <a:pt x="7" y="234"/>
                  </a:lnTo>
                  <a:lnTo>
                    <a:pt x="11" y="240"/>
                  </a:lnTo>
                  <a:lnTo>
                    <a:pt x="16" y="243"/>
                  </a:lnTo>
                  <a:lnTo>
                    <a:pt x="21" y="246"/>
                  </a:lnTo>
                  <a:lnTo>
                    <a:pt x="26" y="248"/>
                  </a:lnTo>
                  <a:lnTo>
                    <a:pt x="33" y="250"/>
                  </a:lnTo>
                  <a:lnTo>
                    <a:pt x="33" y="250"/>
                  </a:lnTo>
                  <a:lnTo>
                    <a:pt x="40" y="248"/>
                  </a:lnTo>
                  <a:lnTo>
                    <a:pt x="47" y="246"/>
                  </a:lnTo>
                  <a:lnTo>
                    <a:pt x="52" y="243"/>
                  </a:lnTo>
                  <a:lnTo>
                    <a:pt x="58" y="240"/>
                  </a:lnTo>
                  <a:lnTo>
                    <a:pt x="61" y="234"/>
                  </a:lnTo>
                  <a:lnTo>
                    <a:pt x="65" y="229"/>
                  </a:lnTo>
                  <a:lnTo>
                    <a:pt x="66" y="224"/>
                  </a:lnTo>
                  <a:lnTo>
                    <a:pt x="66" y="217"/>
                  </a:lnTo>
                  <a:lnTo>
                    <a:pt x="66" y="113"/>
                  </a:lnTo>
                  <a:lnTo>
                    <a:pt x="317" y="363"/>
                  </a:lnTo>
                  <a:lnTo>
                    <a:pt x="317" y="363"/>
                  </a:lnTo>
                  <a:lnTo>
                    <a:pt x="322" y="366"/>
                  </a:lnTo>
                  <a:lnTo>
                    <a:pt x="327" y="370"/>
                  </a:lnTo>
                  <a:lnTo>
                    <a:pt x="334" y="372"/>
                  </a:lnTo>
                  <a:lnTo>
                    <a:pt x="341" y="372"/>
                  </a:lnTo>
                  <a:lnTo>
                    <a:pt x="341" y="372"/>
                  </a:lnTo>
                  <a:lnTo>
                    <a:pt x="346" y="372"/>
                  </a:lnTo>
                  <a:lnTo>
                    <a:pt x="353" y="370"/>
                  </a:lnTo>
                  <a:lnTo>
                    <a:pt x="358" y="366"/>
                  </a:lnTo>
                  <a:lnTo>
                    <a:pt x="364" y="363"/>
                  </a:lnTo>
                  <a:lnTo>
                    <a:pt x="364" y="363"/>
                  </a:lnTo>
                  <a:lnTo>
                    <a:pt x="367" y="358"/>
                  </a:lnTo>
                  <a:lnTo>
                    <a:pt x="371" y="351"/>
                  </a:lnTo>
                  <a:lnTo>
                    <a:pt x="372" y="346"/>
                  </a:lnTo>
                  <a:lnTo>
                    <a:pt x="372" y="339"/>
                  </a:lnTo>
                  <a:lnTo>
                    <a:pt x="372" y="333"/>
                  </a:lnTo>
                  <a:lnTo>
                    <a:pt x="371" y="326"/>
                  </a:lnTo>
                  <a:lnTo>
                    <a:pt x="367" y="321"/>
                  </a:lnTo>
                  <a:lnTo>
                    <a:pt x="364" y="316"/>
                  </a:lnTo>
                  <a:lnTo>
                    <a:pt x="113" y="66"/>
                  </a:lnTo>
                  <a:lnTo>
                    <a:pt x="218" y="66"/>
                  </a:lnTo>
                  <a:lnTo>
                    <a:pt x="218" y="66"/>
                  </a:lnTo>
                  <a:lnTo>
                    <a:pt x="225" y="66"/>
                  </a:lnTo>
                  <a:lnTo>
                    <a:pt x="230" y="64"/>
                  </a:lnTo>
                  <a:lnTo>
                    <a:pt x="235" y="60"/>
                  </a:lnTo>
                  <a:lnTo>
                    <a:pt x="240" y="57"/>
                  </a:lnTo>
                  <a:lnTo>
                    <a:pt x="245" y="52"/>
                  </a:lnTo>
                  <a:lnTo>
                    <a:pt x="247" y="46"/>
                  </a:lnTo>
                  <a:lnTo>
                    <a:pt x="249" y="40"/>
                  </a:lnTo>
                  <a:lnTo>
                    <a:pt x="251" y="33"/>
                  </a:lnTo>
                  <a:lnTo>
                    <a:pt x="251" y="3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Line 67">
              <a:extLst>
                <a:ext uri="{FF2B5EF4-FFF2-40B4-BE49-F238E27FC236}">
                  <a16:creationId xmlns:a16="http://schemas.microsoft.com/office/drawing/2014/main" id="{A93F0B98-E61B-4BA2-A066-370C59BFB1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8295" y="154857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68">
              <a:extLst>
                <a:ext uri="{FF2B5EF4-FFF2-40B4-BE49-F238E27FC236}">
                  <a16:creationId xmlns:a16="http://schemas.microsoft.com/office/drawing/2014/main" id="{BA3859A1-858A-44D0-9877-E8D9A738FA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8995" y="2242313"/>
              <a:ext cx="296862" cy="295275"/>
            </a:xfrm>
            <a:custGeom>
              <a:avLst/>
              <a:gdLst>
                <a:gd name="T0" fmla="*/ 261 w 374"/>
                <a:gd name="T1" fmla="*/ 306 h 372"/>
                <a:gd name="T2" fmla="*/ 157 w 374"/>
                <a:gd name="T3" fmla="*/ 306 h 372"/>
                <a:gd name="T4" fmla="*/ 144 w 374"/>
                <a:gd name="T5" fmla="*/ 309 h 372"/>
                <a:gd name="T6" fmla="*/ 134 w 374"/>
                <a:gd name="T7" fmla="*/ 316 h 372"/>
                <a:gd name="T8" fmla="*/ 127 w 374"/>
                <a:gd name="T9" fmla="*/ 327 h 372"/>
                <a:gd name="T10" fmla="*/ 124 w 374"/>
                <a:gd name="T11" fmla="*/ 339 h 372"/>
                <a:gd name="T12" fmla="*/ 124 w 374"/>
                <a:gd name="T13" fmla="*/ 346 h 372"/>
                <a:gd name="T14" fmla="*/ 129 w 374"/>
                <a:gd name="T15" fmla="*/ 358 h 372"/>
                <a:gd name="T16" fmla="*/ 137 w 374"/>
                <a:gd name="T17" fmla="*/ 367 h 372"/>
                <a:gd name="T18" fmla="*/ 150 w 374"/>
                <a:gd name="T19" fmla="*/ 372 h 372"/>
                <a:gd name="T20" fmla="*/ 341 w 374"/>
                <a:gd name="T21" fmla="*/ 372 h 372"/>
                <a:gd name="T22" fmla="*/ 346 w 374"/>
                <a:gd name="T23" fmla="*/ 372 h 372"/>
                <a:gd name="T24" fmla="*/ 358 w 374"/>
                <a:gd name="T25" fmla="*/ 367 h 372"/>
                <a:gd name="T26" fmla="*/ 367 w 374"/>
                <a:gd name="T27" fmla="*/ 358 h 372"/>
                <a:gd name="T28" fmla="*/ 372 w 374"/>
                <a:gd name="T29" fmla="*/ 346 h 372"/>
                <a:gd name="T30" fmla="*/ 374 w 374"/>
                <a:gd name="T31" fmla="*/ 156 h 372"/>
                <a:gd name="T32" fmla="*/ 372 w 374"/>
                <a:gd name="T33" fmla="*/ 149 h 372"/>
                <a:gd name="T34" fmla="*/ 367 w 374"/>
                <a:gd name="T35" fmla="*/ 137 h 372"/>
                <a:gd name="T36" fmla="*/ 358 w 374"/>
                <a:gd name="T37" fmla="*/ 128 h 372"/>
                <a:gd name="T38" fmla="*/ 346 w 374"/>
                <a:gd name="T39" fmla="*/ 123 h 372"/>
                <a:gd name="T40" fmla="*/ 341 w 374"/>
                <a:gd name="T41" fmla="*/ 123 h 372"/>
                <a:gd name="T42" fmla="*/ 327 w 374"/>
                <a:gd name="T43" fmla="*/ 125 h 372"/>
                <a:gd name="T44" fmla="*/ 316 w 374"/>
                <a:gd name="T45" fmla="*/ 132 h 372"/>
                <a:gd name="T46" fmla="*/ 310 w 374"/>
                <a:gd name="T47" fmla="*/ 142 h 372"/>
                <a:gd name="T48" fmla="*/ 308 w 374"/>
                <a:gd name="T49" fmla="*/ 156 h 372"/>
                <a:gd name="T50" fmla="*/ 57 w 374"/>
                <a:gd name="T51" fmla="*/ 10 h 372"/>
                <a:gd name="T52" fmla="*/ 52 w 374"/>
                <a:gd name="T53" fmla="*/ 5 h 372"/>
                <a:gd name="T54" fmla="*/ 40 w 374"/>
                <a:gd name="T55" fmla="*/ 1 h 372"/>
                <a:gd name="T56" fmla="*/ 28 w 374"/>
                <a:gd name="T57" fmla="*/ 1 h 372"/>
                <a:gd name="T58" fmla="*/ 16 w 374"/>
                <a:gd name="T59" fmla="*/ 5 h 372"/>
                <a:gd name="T60" fmla="*/ 11 w 374"/>
                <a:gd name="T61" fmla="*/ 10 h 372"/>
                <a:gd name="T62" fmla="*/ 4 w 374"/>
                <a:gd name="T63" fmla="*/ 20 h 372"/>
                <a:gd name="T64" fmla="*/ 0 w 374"/>
                <a:gd name="T65" fmla="*/ 33 h 372"/>
                <a:gd name="T66" fmla="*/ 4 w 374"/>
                <a:gd name="T67" fmla="*/ 45 h 372"/>
                <a:gd name="T68" fmla="*/ 11 w 374"/>
                <a:gd name="T69" fmla="*/ 57 h 372"/>
                <a:gd name="T70" fmla="*/ 11 w 374"/>
                <a:gd name="T71" fmla="*/ 57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4" h="372">
                  <a:moveTo>
                    <a:pt x="11" y="57"/>
                  </a:moveTo>
                  <a:lnTo>
                    <a:pt x="261" y="306"/>
                  </a:lnTo>
                  <a:lnTo>
                    <a:pt x="157" y="306"/>
                  </a:lnTo>
                  <a:lnTo>
                    <a:pt x="157" y="306"/>
                  </a:lnTo>
                  <a:lnTo>
                    <a:pt x="150" y="307"/>
                  </a:lnTo>
                  <a:lnTo>
                    <a:pt x="144" y="309"/>
                  </a:lnTo>
                  <a:lnTo>
                    <a:pt x="137" y="313"/>
                  </a:lnTo>
                  <a:lnTo>
                    <a:pt x="134" y="316"/>
                  </a:lnTo>
                  <a:lnTo>
                    <a:pt x="129" y="321"/>
                  </a:lnTo>
                  <a:lnTo>
                    <a:pt x="127" y="327"/>
                  </a:lnTo>
                  <a:lnTo>
                    <a:pt x="124" y="334"/>
                  </a:lnTo>
                  <a:lnTo>
                    <a:pt x="124" y="339"/>
                  </a:lnTo>
                  <a:lnTo>
                    <a:pt x="124" y="339"/>
                  </a:lnTo>
                  <a:lnTo>
                    <a:pt x="124" y="346"/>
                  </a:lnTo>
                  <a:lnTo>
                    <a:pt x="127" y="353"/>
                  </a:lnTo>
                  <a:lnTo>
                    <a:pt x="129" y="358"/>
                  </a:lnTo>
                  <a:lnTo>
                    <a:pt x="134" y="363"/>
                  </a:lnTo>
                  <a:lnTo>
                    <a:pt x="137" y="367"/>
                  </a:lnTo>
                  <a:lnTo>
                    <a:pt x="144" y="370"/>
                  </a:lnTo>
                  <a:lnTo>
                    <a:pt x="150" y="372"/>
                  </a:lnTo>
                  <a:lnTo>
                    <a:pt x="157" y="372"/>
                  </a:lnTo>
                  <a:lnTo>
                    <a:pt x="341" y="372"/>
                  </a:lnTo>
                  <a:lnTo>
                    <a:pt x="341" y="372"/>
                  </a:lnTo>
                  <a:lnTo>
                    <a:pt x="346" y="372"/>
                  </a:lnTo>
                  <a:lnTo>
                    <a:pt x="353" y="370"/>
                  </a:lnTo>
                  <a:lnTo>
                    <a:pt x="358" y="367"/>
                  </a:lnTo>
                  <a:lnTo>
                    <a:pt x="363" y="363"/>
                  </a:lnTo>
                  <a:lnTo>
                    <a:pt x="367" y="358"/>
                  </a:lnTo>
                  <a:lnTo>
                    <a:pt x="370" y="353"/>
                  </a:lnTo>
                  <a:lnTo>
                    <a:pt x="372" y="346"/>
                  </a:lnTo>
                  <a:lnTo>
                    <a:pt x="374" y="339"/>
                  </a:lnTo>
                  <a:lnTo>
                    <a:pt x="374" y="156"/>
                  </a:lnTo>
                  <a:lnTo>
                    <a:pt x="374" y="156"/>
                  </a:lnTo>
                  <a:lnTo>
                    <a:pt x="372" y="149"/>
                  </a:lnTo>
                  <a:lnTo>
                    <a:pt x="370" y="142"/>
                  </a:lnTo>
                  <a:lnTo>
                    <a:pt x="367" y="137"/>
                  </a:lnTo>
                  <a:lnTo>
                    <a:pt x="363" y="132"/>
                  </a:lnTo>
                  <a:lnTo>
                    <a:pt x="358" y="128"/>
                  </a:lnTo>
                  <a:lnTo>
                    <a:pt x="353" y="125"/>
                  </a:lnTo>
                  <a:lnTo>
                    <a:pt x="346" y="123"/>
                  </a:lnTo>
                  <a:lnTo>
                    <a:pt x="341" y="123"/>
                  </a:lnTo>
                  <a:lnTo>
                    <a:pt x="341" y="123"/>
                  </a:lnTo>
                  <a:lnTo>
                    <a:pt x="334" y="123"/>
                  </a:lnTo>
                  <a:lnTo>
                    <a:pt x="327" y="125"/>
                  </a:lnTo>
                  <a:lnTo>
                    <a:pt x="322" y="128"/>
                  </a:lnTo>
                  <a:lnTo>
                    <a:pt x="316" y="132"/>
                  </a:lnTo>
                  <a:lnTo>
                    <a:pt x="313" y="137"/>
                  </a:lnTo>
                  <a:lnTo>
                    <a:pt x="310" y="142"/>
                  </a:lnTo>
                  <a:lnTo>
                    <a:pt x="308" y="149"/>
                  </a:lnTo>
                  <a:lnTo>
                    <a:pt x="308" y="156"/>
                  </a:lnTo>
                  <a:lnTo>
                    <a:pt x="308" y="261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2" y="5"/>
                  </a:lnTo>
                  <a:lnTo>
                    <a:pt x="47" y="3"/>
                  </a:lnTo>
                  <a:lnTo>
                    <a:pt x="40" y="1"/>
                  </a:lnTo>
                  <a:lnTo>
                    <a:pt x="33" y="0"/>
                  </a:lnTo>
                  <a:lnTo>
                    <a:pt x="28" y="1"/>
                  </a:lnTo>
                  <a:lnTo>
                    <a:pt x="21" y="3"/>
                  </a:lnTo>
                  <a:lnTo>
                    <a:pt x="16" y="5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7" y="15"/>
                  </a:lnTo>
                  <a:lnTo>
                    <a:pt x="4" y="20"/>
                  </a:lnTo>
                  <a:lnTo>
                    <a:pt x="2" y="27"/>
                  </a:lnTo>
                  <a:lnTo>
                    <a:pt x="0" y="33"/>
                  </a:lnTo>
                  <a:lnTo>
                    <a:pt x="2" y="40"/>
                  </a:lnTo>
                  <a:lnTo>
                    <a:pt x="4" y="45"/>
                  </a:lnTo>
                  <a:lnTo>
                    <a:pt x="7" y="52"/>
                  </a:lnTo>
                  <a:lnTo>
                    <a:pt x="11" y="57"/>
                  </a:lnTo>
                  <a:lnTo>
                    <a:pt x="11" y="57"/>
                  </a:lnTo>
                  <a:close/>
                  <a:moveTo>
                    <a:pt x="11" y="57"/>
                  </a:moveTo>
                  <a:lnTo>
                    <a:pt x="11" y="5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69">
              <a:extLst>
                <a:ext uri="{FF2B5EF4-FFF2-40B4-BE49-F238E27FC236}">
                  <a16:creationId xmlns:a16="http://schemas.microsoft.com/office/drawing/2014/main" id="{92B93E1A-C6CB-41A8-A005-147BF513E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8995" y="2242313"/>
              <a:ext cx="296862" cy="295275"/>
            </a:xfrm>
            <a:custGeom>
              <a:avLst/>
              <a:gdLst>
                <a:gd name="T0" fmla="*/ 261 w 374"/>
                <a:gd name="T1" fmla="*/ 306 h 372"/>
                <a:gd name="T2" fmla="*/ 157 w 374"/>
                <a:gd name="T3" fmla="*/ 306 h 372"/>
                <a:gd name="T4" fmla="*/ 144 w 374"/>
                <a:gd name="T5" fmla="*/ 309 h 372"/>
                <a:gd name="T6" fmla="*/ 134 w 374"/>
                <a:gd name="T7" fmla="*/ 316 h 372"/>
                <a:gd name="T8" fmla="*/ 127 w 374"/>
                <a:gd name="T9" fmla="*/ 327 h 372"/>
                <a:gd name="T10" fmla="*/ 124 w 374"/>
                <a:gd name="T11" fmla="*/ 339 h 372"/>
                <a:gd name="T12" fmla="*/ 124 w 374"/>
                <a:gd name="T13" fmla="*/ 346 h 372"/>
                <a:gd name="T14" fmla="*/ 129 w 374"/>
                <a:gd name="T15" fmla="*/ 358 h 372"/>
                <a:gd name="T16" fmla="*/ 137 w 374"/>
                <a:gd name="T17" fmla="*/ 367 h 372"/>
                <a:gd name="T18" fmla="*/ 150 w 374"/>
                <a:gd name="T19" fmla="*/ 372 h 372"/>
                <a:gd name="T20" fmla="*/ 341 w 374"/>
                <a:gd name="T21" fmla="*/ 372 h 372"/>
                <a:gd name="T22" fmla="*/ 346 w 374"/>
                <a:gd name="T23" fmla="*/ 372 h 372"/>
                <a:gd name="T24" fmla="*/ 358 w 374"/>
                <a:gd name="T25" fmla="*/ 367 h 372"/>
                <a:gd name="T26" fmla="*/ 367 w 374"/>
                <a:gd name="T27" fmla="*/ 358 h 372"/>
                <a:gd name="T28" fmla="*/ 372 w 374"/>
                <a:gd name="T29" fmla="*/ 346 h 372"/>
                <a:gd name="T30" fmla="*/ 374 w 374"/>
                <a:gd name="T31" fmla="*/ 156 h 372"/>
                <a:gd name="T32" fmla="*/ 372 w 374"/>
                <a:gd name="T33" fmla="*/ 149 h 372"/>
                <a:gd name="T34" fmla="*/ 367 w 374"/>
                <a:gd name="T35" fmla="*/ 137 h 372"/>
                <a:gd name="T36" fmla="*/ 358 w 374"/>
                <a:gd name="T37" fmla="*/ 128 h 372"/>
                <a:gd name="T38" fmla="*/ 346 w 374"/>
                <a:gd name="T39" fmla="*/ 123 h 372"/>
                <a:gd name="T40" fmla="*/ 341 w 374"/>
                <a:gd name="T41" fmla="*/ 123 h 372"/>
                <a:gd name="T42" fmla="*/ 327 w 374"/>
                <a:gd name="T43" fmla="*/ 125 h 372"/>
                <a:gd name="T44" fmla="*/ 316 w 374"/>
                <a:gd name="T45" fmla="*/ 132 h 372"/>
                <a:gd name="T46" fmla="*/ 310 w 374"/>
                <a:gd name="T47" fmla="*/ 142 h 372"/>
                <a:gd name="T48" fmla="*/ 308 w 374"/>
                <a:gd name="T49" fmla="*/ 156 h 372"/>
                <a:gd name="T50" fmla="*/ 57 w 374"/>
                <a:gd name="T51" fmla="*/ 10 h 372"/>
                <a:gd name="T52" fmla="*/ 52 w 374"/>
                <a:gd name="T53" fmla="*/ 5 h 372"/>
                <a:gd name="T54" fmla="*/ 40 w 374"/>
                <a:gd name="T55" fmla="*/ 1 h 372"/>
                <a:gd name="T56" fmla="*/ 28 w 374"/>
                <a:gd name="T57" fmla="*/ 1 h 372"/>
                <a:gd name="T58" fmla="*/ 16 w 374"/>
                <a:gd name="T59" fmla="*/ 5 h 372"/>
                <a:gd name="T60" fmla="*/ 11 w 374"/>
                <a:gd name="T61" fmla="*/ 10 h 372"/>
                <a:gd name="T62" fmla="*/ 4 w 374"/>
                <a:gd name="T63" fmla="*/ 20 h 372"/>
                <a:gd name="T64" fmla="*/ 0 w 374"/>
                <a:gd name="T65" fmla="*/ 33 h 372"/>
                <a:gd name="T66" fmla="*/ 4 w 374"/>
                <a:gd name="T67" fmla="*/ 45 h 372"/>
                <a:gd name="T68" fmla="*/ 11 w 374"/>
                <a:gd name="T69" fmla="*/ 57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4" h="372">
                  <a:moveTo>
                    <a:pt x="11" y="57"/>
                  </a:moveTo>
                  <a:lnTo>
                    <a:pt x="261" y="306"/>
                  </a:lnTo>
                  <a:lnTo>
                    <a:pt x="157" y="306"/>
                  </a:lnTo>
                  <a:lnTo>
                    <a:pt x="157" y="306"/>
                  </a:lnTo>
                  <a:lnTo>
                    <a:pt x="150" y="307"/>
                  </a:lnTo>
                  <a:lnTo>
                    <a:pt x="144" y="309"/>
                  </a:lnTo>
                  <a:lnTo>
                    <a:pt x="137" y="313"/>
                  </a:lnTo>
                  <a:lnTo>
                    <a:pt x="134" y="316"/>
                  </a:lnTo>
                  <a:lnTo>
                    <a:pt x="129" y="321"/>
                  </a:lnTo>
                  <a:lnTo>
                    <a:pt x="127" y="327"/>
                  </a:lnTo>
                  <a:lnTo>
                    <a:pt x="124" y="334"/>
                  </a:lnTo>
                  <a:lnTo>
                    <a:pt x="124" y="339"/>
                  </a:lnTo>
                  <a:lnTo>
                    <a:pt x="124" y="339"/>
                  </a:lnTo>
                  <a:lnTo>
                    <a:pt x="124" y="346"/>
                  </a:lnTo>
                  <a:lnTo>
                    <a:pt x="127" y="353"/>
                  </a:lnTo>
                  <a:lnTo>
                    <a:pt x="129" y="358"/>
                  </a:lnTo>
                  <a:lnTo>
                    <a:pt x="134" y="363"/>
                  </a:lnTo>
                  <a:lnTo>
                    <a:pt x="137" y="367"/>
                  </a:lnTo>
                  <a:lnTo>
                    <a:pt x="144" y="370"/>
                  </a:lnTo>
                  <a:lnTo>
                    <a:pt x="150" y="372"/>
                  </a:lnTo>
                  <a:lnTo>
                    <a:pt x="157" y="372"/>
                  </a:lnTo>
                  <a:lnTo>
                    <a:pt x="341" y="372"/>
                  </a:lnTo>
                  <a:lnTo>
                    <a:pt x="341" y="372"/>
                  </a:lnTo>
                  <a:lnTo>
                    <a:pt x="346" y="372"/>
                  </a:lnTo>
                  <a:lnTo>
                    <a:pt x="353" y="370"/>
                  </a:lnTo>
                  <a:lnTo>
                    <a:pt x="358" y="367"/>
                  </a:lnTo>
                  <a:lnTo>
                    <a:pt x="363" y="363"/>
                  </a:lnTo>
                  <a:lnTo>
                    <a:pt x="367" y="358"/>
                  </a:lnTo>
                  <a:lnTo>
                    <a:pt x="370" y="353"/>
                  </a:lnTo>
                  <a:lnTo>
                    <a:pt x="372" y="346"/>
                  </a:lnTo>
                  <a:lnTo>
                    <a:pt x="374" y="339"/>
                  </a:lnTo>
                  <a:lnTo>
                    <a:pt x="374" y="156"/>
                  </a:lnTo>
                  <a:lnTo>
                    <a:pt x="374" y="156"/>
                  </a:lnTo>
                  <a:lnTo>
                    <a:pt x="372" y="149"/>
                  </a:lnTo>
                  <a:lnTo>
                    <a:pt x="370" y="142"/>
                  </a:lnTo>
                  <a:lnTo>
                    <a:pt x="367" y="137"/>
                  </a:lnTo>
                  <a:lnTo>
                    <a:pt x="363" y="132"/>
                  </a:lnTo>
                  <a:lnTo>
                    <a:pt x="358" y="128"/>
                  </a:lnTo>
                  <a:lnTo>
                    <a:pt x="353" y="125"/>
                  </a:lnTo>
                  <a:lnTo>
                    <a:pt x="346" y="123"/>
                  </a:lnTo>
                  <a:lnTo>
                    <a:pt x="341" y="123"/>
                  </a:lnTo>
                  <a:lnTo>
                    <a:pt x="341" y="123"/>
                  </a:lnTo>
                  <a:lnTo>
                    <a:pt x="334" y="123"/>
                  </a:lnTo>
                  <a:lnTo>
                    <a:pt x="327" y="125"/>
                  </a:lnTo>
                  <a:lnTo>
                    <a:pt x="322" y="128"/>
                  </a:lnTo>
                  <a:lnTo>
                    <a:pt x="316" y="132"/>
                  </a:lnTo>
                  <a:lnTo>
                    <a:pt x="313" y="137"/>
                  </a:lnTo>
                  <a:lnTo>
                    <a:pt x="310" y="142"/>
                  </a:lnTo>
                  <a:lnTo>
                    <a:pt x="308" y="149"/>
                  </a:lnTo>
                  <a:lnTo>
                    <a:pt x="308" y="156"/>
                  </a:lnTo>
                  <a:lnTo>
                    <a:pt x="308" y="261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2" y="5"/>
                  </a:lnTo>
                  <a:lnTo>
                    <a:pt x="47" y="3"/>
                  </a:lnTo>
                  <a:lnTo>
                    <a:pt x="40" y="1"/>
                  </a:lnTo>
                  <a:lnTo>
                    <a:pt x="33" y="0"/>
                  </a:lnTo>
                  <a:lnTo>
                    <a:pt x="28" y="1"/>
                  </a:lnTo>
                  <a:lnTo>
                    <a:pt x="21" y="3"/>
                  </a:lnTo>
                  <a:lnTo>
                    <a:pt x="16" y="5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7" y="15"/>
                  </a:lnTo>
                  <a:lnTo>
                    <a:pt x="4" y="20"/>
                  </a:lnTo>
                  <a:lnTo>
                    <a:pt x="2" y="27"/>
                  </a:lnTo>
                  <a:lnTo>
                    <a:pt x="0" y="33"/>
                  </a:lnTo>
                  <a:lnTo>
                    <a:pt x="2" y="40"/>
                  </a:lnTo>
                  <a:lnTo>
                    <a:pt x="4" y="45"/>
                  </a:lnTo>
                  <a:lnTo>
                    <a:pt x="7" y="52"/>
                  </a:lnTo>
                  <a:lnTo>
                    <a:pt x="11" y="57"/>
                  </a:lnTo>
                  <a:lnTo>
                    <a:pt x="11" y="57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Line 70">
              <a:extLst>
                <a:ext uri="{FF2B5EF4-FFF2-40B4-BE49-F238E27FC236}">
                  <a16:creationId xmlns:a16="http://schemas.microsoft.com/office/drawing/2014/main" id="{923572B1-2494-4C5D-B731-42C1550094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6932" y="2288351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71">
              <a:extLst>
                <a:ext uri="{FF2B5EF4-FFF2-40B4-BE49-F238E27FC236}">
                  <a16:creationId xmlns:a16="http://schemas.microsoft.com/office/drawing/2014/main" id="{8B154C33-52AB-43B6-92DD-0D5DF877F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857" y="2242313"/>
              <a:ext cx="295275" cy="295275"/>
            </a:xfrm>
            <a:custGeom>
              <a:avLst/>
              <a:gdLst>
                <a:gd name="T0" fmla="*/ 33 w 372"/>
                <a:gd name="T1" fmla="*/ 123 h 372"/>
                <a:gd name="T2" fmla="*/ 21 w 372"/>
                <a:gd name="T3" fmla="*/ 125 h 372"/>
                <a:gd name="T4" fmla="*/ 11 w 372"/>
                <a:gd name="T5" fmla="*/ 132 h 372"/>
                <a:gd name="T6" fmla="*/ 4 w 372"/>
                <a:gd name="T7" fmla="*/ 142 h 372"/>
                <a:gd name="T8" fmla="*/ 0 w 372"/>
                <a:gd name="T9" fmla="*/ 156 h 372"/>
                <a:gd name="T10" fmla="*/ 0 w 372"/>
                <a:gd name="T11" fmla="*/ 339 h 372"/>
                <a:gd name="T12" fmla="*/ 4 w 372"/>
                <a:gd name="T13" fmla="*/ 353 h 372"/>
                <a:gd name="T14" fmla="*/ 11 w 372"/>
                <a:gd name="T15" fmla="*/ 363 h 372"/>
                <a:gd name="T16" fmla="*/ 21 w 372"/>
                <a:gd name="T17" fmla="*/ 370 h 372"/>
                <a:gd name="T18" fmla="*/ 33 w 372"/>
                <a:gd name="T19" fmla="*/ 372 h 372"/>
                <a:gd name="T20" fmla="*/ 218 w 372"/>
                <a:gd name="T21" fmla="*/ 372 h 372"/>
                <a:gd name="T22" fmla="*/ 230 w 372"/>
                <a:gd name="T23" fmla="*/ 370 h 372"/>
                <a:gd name="T24" fmla="*/ 240 w 372"/>
                <a:gd name="T25" fmla="*/ 363 h 372"/>
                <a:gd name="T26" fmla="*/ 247 w 372"/>
                <a:gd name="T27" fmla="*/ 353 h 372"/>
                <a:gd name="T28" fmla="*/ 251 w 372"/>
                <a:gd name="T29" fmla="*/ 339 h 372"/>
                <a:gd name="T30" fmla="*/ 249 w 372"/>
                <a:gd name="T31" fmla="*/ 334 h 372"/>
                <a:gd name="T32" fmla="*/ 245 w 372"/>
                <a:gd name="T33" fmla="*/ 321 h 372"/>
                <a:gd name="T34" fmla="*/ 235 w 372"/>
                <a:gd name="T35" fmla="*/ 313 h 372"/>
                <a:gd name="T36" fmla="*/ 225 w 372"/>
                <a:gd name="T37" fmla="*/ 307 h 372"/>
                <a:gd name="T38" fmla="*/ 113 w 372"/>
                <a:gd name="T39" fmla="*/ 306 h 372"/>
                <a:gd name="T40" fmla="*/ 364 w 372"/>
                <a:gd name="T41" fmla="*/ 57 h 372"/>
                <a:gd name="T42" fmla="*/ 371 w 372"/>
                <a:gd name="T43" fmla="*/ 45 h 372"/>
                <a:gd name="T44" fmla="*/ 372 w 372"/>
                <a:gd name="T45" fmla="*/ 33 h 372"/>
                <a:gd name="T46" fmla="*/ 371 w 372"/>
                <a:gd name="T47" fmla="*/ 20 h 372"/>
                <a:gd name="T48" fmla="*/ 364 w 372"/>
                <a:gd name="T49" fmla="*/ 10 h 372"/>
                <a:gd name="T50" fmla="*/ 358 w 372"/>
                <a:gd name="T51" fmla="*/ 5 h 372"/>
                <a:gd name="T52" fmla="*/ 346 w 372"/>
                <a:gd name="T53" fmla="*/ 1 h 372"/>
                <a:gd name="T54" fmla="*/ 334 w 372"/>
                <a:gd name="T55" fmla="*/ 1 h 372"/>
                <a:gd name="T56" fmla="*/ 322 w 372"/>
                <a:gd name="T57" fmla="*/ 5 h 372"/>
                <a:gd name="T58" fmla="*/ 66 w 372"/>
                <a:gd name="T59" fmla="*/ 261 h 372"/>
                <a:gd name="T60" fmla="*/ 66 w 372"/>
                <a:gd name="T61" fmla="*/ 156 h 372"/>
                <a:gd name="T62" fmla="*/ 65 w 372"/>
                <a:gd name="T63" fmla="*/ 142 h 372"/>
                <a:gd name="T64" fmla="*/ 58 w 372"/>
                <a:gd name="T65" fmla="*/ 132 h 372"/>
                <a:gd name="T66" fmla="*/ 47 w 372"/>
                <a:gd name="T67" fmla="*/ 125 h 372"/>
                <a:gd name="T68" fmla="*/ 33 w 372"/>
                <a:gd name="T69" fmla="*/ 123 h 372"/>
                <a:gd name="T70" fmla="*/ 33 w 372"/>
                <a:gd name="T71" fmla="*/ 12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2" h="372">
                  <a:moveTo>
                    <a:pt x="33" y="123"/>
                  </a:moveTo>
                  <a:lnTo>
                    <a:pt x="33" y="123"/>
                  </a:lnTo>
                  <a:lnTo>
                    <a:pt x="26" y="123"/>
                  </a:lnTo>
                  <a:lnTo>
                    <a:pt x="21" y="125"/>
                  </a:lnTo>
                  <a:lnTo>
                    <a:pt x="16" y="128"/>
                  </a:lnTo>
                  <a:lnTo>
                    <a:pt x="11" y="132"/>
                  </a:lnTo>
                  <a:lnTo>
                    <a:pt x="7" y="137"/>
                  </a:lnTo>
                  <a:lnTo>
                    <a:pt x="4" y="142"/>
                  </a:lnTo>
                  <a:lnTo>
                    <a:pt x="2" y="149"/>
                  </a:lnTo>
                  <a:lnTo>
                    <a:pt x="0" y="156"/>
                  </a:lnTo>
                  <a:lnTo>
                    <a:pt x="0" y="339"/>
                  </a:lnTo>
                  <a:lnTo>
                    <a:pt x="0" y="339"/>
                  </a:lnTo>
                  <a:lnTo>
                    <a:pt x="2" y="346"/>
                  </a:lnTo>
                  <a:lnTo>
                    <a:pt x="4" y="353"/>
                  </a:lnTo>
                  <a:lnTo>
                    <a:pt x="7" y="358"/>
                  </a:lnTo>
                  <a:lnTo>
                    <a:pt x="11" y="363"/>
                  </a:lnTo>
                  <a:lnTo>
                    <a:pt x="16" y="367"/>
                  </a:lnTo>
                  <a:lnTo>
                    <a:pt x="21" y="370"/>
                  </a:lnTo>
                  <a:lnTo>
                    <a:pt x="26" y="372"/>
                  </a:lnTo>
                  <a:lnTo>
                    <a:pt x="33" y="372"/>
                  </a:lnTo>
                  <a:lnTo>
                    <a:pt x="218" y="372"/>
                  </a:lnTo>
                  <a:lnTo>
                    <a:pt x="218" y="372"/>
                  </a:lnTo>
                  <a:lnTo>
                    <a:pt x="225" y="372"/>
                  </a:lnTo>
                  <a:lnTo>
                    <a:pt x="230" y="370"/>
                  </a:lnTo>
                  <a:lnTo>
                    <a:pt x="235" y="367"/>
                  </a:lnTo>
                  <a:lnTo>
                    <a:pt x="240" y="363"/>
                  </a:lnTo>
                  <a:lnTo>
                    <a:pt x="245" y="358"/>
                  </a:lnTo>
                  <a:lnTo>
                    <a:pt x="247" y="353"/>
                  </a:lnTo>
                  <a:lnTo>
                    <a:pt x="249" y="346"/>
                  </a:lnTo>
                  <a:lnTo>
                    <a:pt x="251" y="339"/>
                  </a:lnTo>
                  <a:lnTo>
                    <a:pt x="251" y="339"/>
                  </a:lnTo>
                  <a:lnTo>
                    <a:pt x="249" y="334"/>
                  </a:lnTo>
                  <a:lnTo>
                    <a:pt x="247" y="327"/>
                  </a:lnTo>
                  <a:lnTo>
                    <a:pt x="245" y="321"/>
                  </a:lnTo>
                  <a:lnTo>
                    <a:pt x="240" y="316"/>
                  </a:lnTo>
                  <a:lnTo>
                    <a:pt x="235" y="313"/>
                  </a:lnTo>
                  <a:lnTo>
                    <a:pt x="230" y="309"/>
                  </a:lnTo>
                  <a:lnTo>
                    <a:pt x="225" y="307"/>
                  </a:lnTo>
                  <a:lnTo>
                    <a:pt x="218" y="306"/>
                  </a:lnTo>
                  <a:lnTo>
                    <a:pt x="113" y="306"/>
                  </a:lnTo>
                  <a:lnTo>
                    <a:pt x="364" y="57"/>
                  </a:lnTo>
                  <a:lnTo>
                    <a:pt x="364" y="57"/>
                  </a:lnTo>
                  <a:lnTo>
                    <a:pt x="367" y="52"/>
                  </a:lnTo>
                  <a:lnTo>
                    <a:pt x="371" y="45"/>
                  </a:lnTo>
                  <a:lnTo>
                    <a:pt x="372" y="40"/>
                  </a:lnTo>
                  <a:lnTo>
                    <a:pt x="372" y="33"/>
                  </a:lnTo>
                  <a:lnTo>
                    <a:pt x="372" y="27"/>
                  </a:lnTo>
                  <a:lnTo>
                    <a:pt x="371" y="20"/>
                  </a:lnTo>
                  <a:lnTo>
                    <a:pt x="367" y="15"/>
                  </a:lnTo>
                  <a:lnTo>
                    <a:pt x="364" y="10"/>
                  </a:lnTo>
                  <a:lnTo>
                    <a:pt x="364" y="10"/>
                  </a:lnTo>
                  <a:lnTo>
                    <a:pt x="358" y="5"/>
                  </a:lnTo>
                  <a:lnTo>
                    <a:pt x="353" y="3"/>
                  </a:lnTo>
                  <a:lnTo>
                    <a:pt x="346" y="1"/>
                  </a:lnTo>
                  <a:lnTo>
                    <a:pt x="341" y="0"/>
                  </a:lnTo>
                  <a:lnTo>
                    <a:pt x="334" y="1"/>
                  </a:lnTo>
                  <a:lnTo>
                    <a:pt x="327" y="3"/>
                  </a:lnTo>
                  <a:lnTo>
                    <a:pt x="322" y="5"/>
                  </a:lnTo>
                  <a:lnTo>
                    <a:pt x="317" y="10"/>
                  </a:lnTo>
                  <a:lnTo>
                    <a:pt x="66" y="261"/>
                  </a:lnTo>
                  <a:lnTo>
                    <a:pt x="66" y="156"/>
                  </a:lnTo>
                  <a:lnTo>
                    <a:pt x="66" y="156"/>
                  </a:lnTo>
                  <a:lnTo>
                    <a:pt x="66" y="149"/>
                  </a:lnTo>
                  <a:lnTo>
                    <a:pt x="65" y="142"/>
                  </a:lnTo>
                  <a:lnTo>
                    <a:pt x="61" y="137"/>
                  </a:lnTo>
                  <a:lnTo>
                    <a:pt x="58" y="132"/>
                  </a:lnTo>
                  <a:lnTo>
                    <a:pt x="52" y="128"/>
                  </a:lnTo>
                  <a:lnTo>
                    <a:pt x="47" y="125"/>
                  </a:lnTo>
                  <a:lnTo>
                    <a:pt x="40" y="123"/>
                  </a:lnTo>
                  <a:lnTo>
                    <a:pt x="33" y="123"/>
                  </a:lnTo>
                  <a:lnTo>
                    <a:pt x="33" y="123"/>
                  </a:lnTo>
                  <a:close/>
                  <a:moveTo>
                    <a:pt x="33" y="123"/>
                  </a:moveTo>
                  <a:lnTo>
                    <a:pt x="33" y="1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72">
              <a:extLst>
                <a:ext uri="{FF2B5EF4-FFF2-40B4-BE49-F238E27FC236}">
                  <a16:creationId xmlns:a16="http://schemas.microsoft.com/office/drawing/2014/main" id="{9A8A21A2-096F-496C-B132-9496C377F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57" y="2242313"/>
              <a:ext cx="295275" cy="295275"/>
            </a:xfrm>
            <a:custGeom>
              <a:avLst/>
              <a:gdLst>
                <a:gd name="T0" fmla="*/ 33 w 372"/>
                <a:gd name="T1" fmla="*/ 123 h 372"/>
                <a:gd name="T2" fmla="*/ 21 w 372"/>
                <a:gd name="T3" fmla="*/ 125 h 372"/>
                <a:gd name="T4" fmla="*/ 11 w 372"/>
                <a:gd name="T5" fmla="*/ 132 h 372"/>
                <a:gd name="T6" fmla="*/ 4 w 372"/>
                <a:gd name="T7" fmla="*/ 142 h 372"/>
                <a:gd name="T8" fmla="*/ 0 w 372"/>
                <a:gd name="T9" fmla="*/ 156 h 372"/>
                <a:gd name="T10" fmla="*/ 0 w 372"/>
                <a:gd name="T11" fmla="*/ 339 h 372"/>
                <a:gd name="T12" fmla="*/ 4 w 372"/>
                <a:gd name="T13" fmla="*/ 353 h 372"/>
                <a:gd name="T14" fmla="*/ 11 w 372"/>
                <a:gd name="T15" fmla="*/ 363 h 372"/>
                <a:gd name="T16" fmla="*/ 21 w 372"/>
                <a:gd name="T17" fmla="*/ 370 h 372"/>
                <a:gd name="T18" fmla="*/ 33 w 372"/>
                <a:gd name="T19" fmla="*/ 372 h 372"/>
                <a:gd name="T20" fmla="*/ 218 w 372"/>
                <a:gd name="T21" fmla="*/ 372 h 372"/>
                <a:gd name="T22" fmla="*/ 230 w 372"/>
                <a:gd name="T23" fmla="*/ 370 h 372"/>
                <a:gd name="T24" fmla="*/ 240 w 372"/>
                <a:gd name="T25" fmla="*/ 363 h 372"/>
                <a:gd name="T26" fmla="*/ 247 w 372"/>
                <a:gd name="T27" fmla="*/ 353 h 372"/>
                <a:gd name="T28" fmla="*/ 251 w 372"/>
                <a:gd name="T29" fmla="*/ 339 h 372"/>
                <a:gd name="T30" fmla="*/ 249 w 372"/>
                <a:gd name="T31" fmla="*/ 334 h 372"/>
                <a:gd name="T32" fmla="*/ 245 w 372"/>
                <a:gd name="T33" fmla="*/ 321 h 372"/>
                <a:gd name="T34" fmla="*/ 235 w 372"/>
                <a:gd name="T35" fmla="*/ 313 h 372"/>
                <a:gd name="T36" fmla="*/ 225 w 372"/>
                <a:gd name="T37" fmla="*/ 307 h 372"/>
                <a:gd name="T38" fmla="*/ 113 w 372"/>
                <a:gd name="T39" fmla="*/ 306 h 372"/>
                <a:gd name="T40" fmla="*/ 364 w 372"/>
                <a:gd name="T41" fmla="*/ 57 h 372"/>
                <a:gd name="T42" fmla="*/ 371 w 372"/>
                <a:gd name="T43" fmla="*/ 45 h 372"/>
                <a:gd name="T44" fmla="*/ 372 w 372"/>
                <a:gd name="T45" fmla="*/ 33 h 372"/>
                <a:gd name="T46" fmla="*/ 371 w 372"/>
                <a:gd name="T47" fmla="*/ 20 h 372"/>
                <a:gd name="T48" fmla="*/ 364 w 372"/>
                <a:gd name="T49" fmla="*/ 10 h 372"/>
                <a:gd name="T50" fmla="*/ 358 w 372"/>
                <a:gd name="T51" fmla="*/ 5 h 372"/>
                <a:gd name="T52" fmla="*/ 346 w 372"/>
                <a:gd name="T53" fmla="*/ 1 h 372"/>
                <a:gd name="T54" fmla="*/ 334 w 372"/>
                <a:gd name="T55" fmla="*/ 1 h 372"/>
                <a:gd name="T56" fmla="*/ 322 w 372"/>
                <a:gd name="T57" fmla="*/ 5 h 372"/>
                <a:gd name="T58" fmla="*/ 66 w 372"/>
                <a:gd name="T59" fmla="*/ 261 h 372"/>
                <a:gd name="T60" fmla="*/ 66 w 372"/>
                <a:gd name="T61" fmla="*/ 156 h 372"/>
                <a:gd name="T62" fmla="*/ 65 w 372"/>
                <a:gd name="T63" fmla="*/ 142 h 372"/>
                <a:gd name="T64" fmla="*/ 58 w 372"/>
                <a:gd name="T65" fmla="*/ 132 h 372"/>
                <a:gd name="T66" fmla="*/ 47 w 372"/>
                <a:gd name="T67" fmla="*/ 125 h 372"/>
                <a:gd name="T68" fmla="*/ 33 w 372"/>
                <a:gd name="T69" fmla="*/ 12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2" h="372">
                  <a:moveTo>
                    <a:pt x="33" y="123"/>
                  </a:moveTo>
                  <a:lnTo>
                    <a:pt x="33" y="123"/>
                  </a:lnTo>
                  <a:lnTo>
                    <a:pt x="26" y="123"/>
                  </a:lnTo>
                  <a:lnTo>
                    <a:pt x="21" y="125"/>
                  </a:lnTo>
                  <a:lnTo>
                    <a:pt x="16" y="128"/>
                  </a:lnTo>
                  <a:lnTo>
                    <a:pt x="11" y="132"/>
                  </a:lnTo>
                  <a:lnTo>
                    <a:pt x="7" y="137"/>
                  </a:lnTo>
                  <a:lnTo>
                    <a:pt x="4" y="142"/>
                  </a:lnTo>
                  <a:lnTo>
                    <a:pt x="2" y="149"/>
                  </a:lnTo>
                  <a:lnTo>
                    <a:pt x="0" y="156"/>
                  </a:lnTo>
                  <a:lnTo>
                    <a:pt x="0" y="339"/>
                  </a:lnTo>
                  <a:lnTo>
                    <a:pt x="0" y="339"/>
                  </a:lnTo>
                  <a:lnTo>
                    <a:pt x="2" y="346"/>
                  </a:lnTo>
                  <a:lnTo>
                    <a:pt x="4" y="353"/>
                  </a:lnTo>
                  <a:lnTo>
                    <a:pt x="7" y="358"/>
                  </a:lnTo>
                  <a:lnTo>
                    <a:pt x="11" y="363"/>
                  </a:lnTo>
                  <a:lnTo>
                    <a:pt x="16" y="367"/>
                  </a:lnTo>
                  <a:lnTo>
                    <a:pt x="21" y="370"/>
                  </a:lnTo>
                  <a:lnTo>
                    <a:pt x="26" y="372"/>
                  </a:lnTo>
                  <a:lnTo>
                    <a:pt x="33" y="372"/>
                  </a:lnTo>
                  <a:lnTo>
                    <a:pt x="218" y="372"/>
                  </a:lnTo>
                  <a:lnTo>
                    <a:pt x="218" y="372"/>
                  </a:lnTo>
                  <a:lnTo>
                    <a:pt x="225" y="372"/>
                  </a:lnTo>
                  <a:lnTo>
                    <a:pt x="230" y="370"/>
                  </a:lnTo>
                  <a:lnTo>
                    <a:pt x="235" y="367"/>
                  </a:lnTo>
                  <a:lnTo>
                    <a:pt x="240" y="363"/>
                  </a:lnTo>
                  <a:lnTo>
                    <a:pt x="245" y="358"/>
                  </a:lnTo>
                  <a:lnTo>
                    <a:pt x="247" y="353"/>
                  </a:lnTo>
                  <a:lnTo>
                    <a:pt x="249" y="346"/>
                  </a:lnTo>
                  <a:lnTo>
                    <a:pt x="251" y="339"/>
                  </a:lnTo>
                  <a:lnTo>
                    <a:pt x="251" y="339"/>
                  </a:lnTo>
                  <a:lnTo>
                    <a:pt x="249" y="334"/>
                  </a:lnTo>
                  <a:lnTo>
                    <a:pt x="247" y="327"/>
                  </a:lnTo>
                  <a:lnTo>
                    <a:pt x="245" y="321"/>
                  </a:lnTo>
                  <a:lnTo>
                    <a:pt x="240" y="316"/>
                  </a:lnTo>
                  <a:lnTo>
                    <a:pt x="235" y="313"/>
                  </a:lnTo>
                  <a:lnTo>
                    <a:pt x="230" y="309"/>
                  </a:lnTo>
                  <a:lnTo>
                    <a:pt x="225" y="307"/>
                  </a:lnTo>
                  <a:lnTo>
                    <a:pt x="218" y="306"/>
                  </a:lnTo>
                  <a:lnTo>
                    <a:pt x="113" y="306"/>
                  </a:lnTo>
                  <a:lnTo>
                    <a:pt x="364" y="57"/>
                  </a:lnTo>
                  <a:lnTo>
                    <a:pt x="364" y="57"/>
                  </a:lnTo>
                  <a:lnTo>
                    <a:pt x="367" y="52"/>
                  </a:lnTo>
                  <a:lnTo>
                    <a:pt x="371" y="45"/>
                  </a:lnTo>
                  <a:lnTo>
                    <a:pt x="372" y="40"/>
                  </a:lnTo>
                  <a:lnTo>
                    <a:pt x="372" y="33"/>
                  </a:lnTo>
                  <a:lnTo>
                    <a:pt x="372" y="27"/>
                  </a:lnTo>
                  <a:lnTo>
                    <a:pt x="371" y="20"/>
                  </a:lnTo>
                  <a:lnTo>
                    <a:pt x="367" y="15"/>
                  </a:lnTo>
                  <a:lnTo>
                    <a:pt x="364" y="10"/>
                  </a:lnTo>
                  <a:lnTo>
                    <a:pt x="364" y="10"/>
                  </a:lnTo>
                  <a:lnTo>
                    <a:pt x="358" y="5"/>
                  </a:lnTo>
                  <a:lnTo>
                    <a:pt x="353" y="3"/>
                  </a:lnTo>
                  <a:lnTo>
                    <a:pt x="346" y="1"/>
                  </a:lnTo>
                  <a:lnTo>
                    <a:pt x="341" y="0"/>
                  </a:lnTo>
                  <a:lnTo>
                    <a:pt x="334" y="1"/>
                  </a:lnTo>
                  <a:lnTo>
                    <a:pt x="327" y="3"/>
                  </a:lnTo>
                  <a:lnTo>
                    <a:pt x="322" y="5"/>
                  </a:lnTo>
                  <a:lnTo>
                    <a:pt x="317" y="10"/>
                  </a:lnTo>
                  <a:lnTo>
                    <a:pt x="66" y="261"/>
                  </a:lnTo>
                  <a:lnTo>
                    <a:pt x="66" y="156"/>
                  </a:lnTo>
                  <a:lnTo>
                    <a:pt x="66" y="156"/>
                  </a:lnTo>
                  <a:lnTo>
                    <a:pt x="66" y="149"/>
                  </a:lnTo>
                  <a:lnTo>
                    <a:pt x="65" y="142"/>
                  </a:lnTo>
                  <a:lnTo>
                    <a:pt x="61" y="137"/>
                  </a:lnTo>
                  <a:lnTo>
                    <a:pt x="58" y="132"/>
                  </a:lnTo>
                  <a:lnTo>
                    <a:pt x="52" y="128"/>
                  </a:lnTo>
                  <a:lnTo>
                    <a:pt x="47" y="125"/>
                  </a:lnTo>
                  <a:lnTo>
                    <a:pt x="40" y="123"/>
                  </a:lnTo>
                  <a:lnTo>
                    <a:pt x="33" y="123"/>
                  </a:lnTo>
                  <a:lnTo>
                    <a:pt x="33" y="12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Line 73">
              <a:extLst>
                <a:ext uri="{FF2B5EF4-FFF2-40B4-BE49-F238E27FC236}">
                  <a16:creationId xmlns:a16="http://schemas.microsoft.com/office/drawing/2014/main" id="{F51FEE6F-B47B-4FAE-8786-7661328584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845" y="23407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74">
              <a:extLst>
                <a:ext uri="{FF2B5EF4-FFF2-40B4-BE49-F238E27FC236}">
                  <a16:creationId xmlns:a16="http://schemas.microsoft.com/office/drawing/2014/main" id="{3DA65185-153E-4366-97A0-CF8ED473EE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8995" y="1523176"/>
              <a:ext cx="296862" cy="295275"/>
            </a:xfrm>
            <a:custGeom>
              <a:avLst/>
              <a:gdLst>
                <a:gd name="T0" fmla="*/ 11 w 374"/>
                <a:gd name="T1" fmla="*/ 363 h 372"/>
                <a:gd name="T2" fmla="*/ 21 w 374"/>
                <a:gd name="T3" fmla="*/ 370 h 372"/>
                <a:gd name="T4" fmla="*/ 33 w 374"/>
                <a:gd name="T5" fmla="*/ 372 h 372"/>
                <a:gd name="T6" fmla="*/ 40 w 374"/>
                <a:gd name="T7" fmla="*/ 372 h 372"/>
                <a:gd name="T8" fmla="*/ 52 w 374"/>
                <a:gd name="T9" fmla="*/ 366 h 372"/>
                <a:gd name="T10" fmla="*/ 308 w 374"/>
                <a:gd name="T11" fmla="*/ 113 h 372"/>
                <a:gd name="T12" fmla="*/ 308 w 374"/>
                <a:gd name="T13" fmla="*/ 217 h 372"/>
                <a:gd name="T14" fmla="*/ 310 w 374"/>
                <a:gd name="T15" fmla="*/ 229 h 372"/>
                <a:gd name="T16" fmla="*/ 316 w 374"/>
                <a:gd name="T17" fmla="*/ 240 h 372"/>
                <a:gd name="T18" fmla="*/ 327 w 374"/>
                <a:gd name="T19" fmla="*/ 246 h 372"/>
                <a:gd name="T20" fmla="*/ 341 w 374"/>
                <a:gd name="T21" fmla="*/ 250 h 372"/>
                <a:gd name="T22" fmla="*/ 346 w 374"/>
                <a:gd name="T23" fmla="*/ 248 h 372"/>
                <a:gd name="T24" fmla="*/ 358 w 374"/>
                <a:gd name="T25" fmla="*/ 243 h 372"/>
                <a:gd name="T26" fmla="*/ 367 w 374"/>
                <a:gd name="T27" fmla="*/ 234 h 372"/>
                <a:gd name="T28" fmla="*/ 372 w 374"/>
                <a:gd name="T29" fmla="*/ 224 h 372"/>
                <a:gd name="T30" fmla="*/ 374 w 374"/>
                <a:gd name="T31" fmla="*/ 33 h 372"/>
                <a:gd name="T32" fmla="*/ 372 w 374"/>
                <a:gd name="T33" fmla="*/ 26 h 372"/>
                <a:gd name="T34" fmla="*/ 367 w 374"/>
                <a:gd name="T35" fmla="*/ 15 h 372"/>
                <a:gd name="T36" fmla="*/ 358 w 374"/>
                <a:gd name="T37" fmla="*/ 5 h 372"/>
                <a:gd name="T38" fmla="*/ 346 w 374"/>
                <a:gd name="T39" fmla="*/ 1 h 372"/>
                <a:gd name="T40" fmla="*/ 157 w 374"/>
                <a:gd name="T41" fmla="*/ 0 h 372"/>
                <a:gd name="T42" fmla="*/ 150 w 374"/>
                <a:gd name="T43" fmla="*/ 1 h 372"/>
                <a:gd name="T44" fmla="*/ 137 w 374"/>
                <a:gd name="T45" fmla="*/ 5 h 372"/>
                <a:gd name="T46" fmla="*/ 129 w 374"/>
                <a:gd name="T47" fmla="*/ 15 h 372"/>
                <a:gd name="T48" fmla="*/ 124 w 374"/>
                <a:gd name="T49" fmla="*/ 26 h 372"/>
                <a:gd name="T50" fmla="*/ 124 w 374"/>
                <a:gd name="T51" fmla="*/ 33 h 372"/>
                <a:gd name="T52" fmla="*/ 127 w 374"/>
                <a:gd name="T53" fmla="*/ 46 h 372"/>
                <a:gd name="T54" fmla="*/ 134 w 374"/>
                <a:gd name="T55" fmla="*/ 57 h 372"/>
                <a:gd name="T56" fmla="*/ 144 w 374"/>
                <a:gd name="T57" fmla="*/ 64 h 372"/>
                <a:gd name="T58" fmla="*/ 157 w 374"/>
                <a:gd name="T59" fmla="*/ 66 h 372"/>
                <a:gd name="T60" fmla="*/ 11 w 374"/>
                <a:gd name="T61" fmla="*/ 316 h 372"/>
                <a:gd name="T62" fmla="*/ 7 w 374"/>
                <a:gd name="T63" fmla="*/ 321 h 372"/>
                <a:gd name="T64" fmla="*/ 2 w 374"/>
                <a:gd name="T65" fmla="*/ 333 h 372"/>
                <a:gd name="T66" fmla="*/ 2 w 374"/>
                <a:gd name="T67" fmla="*/ 346 h 372"/>
                <a:gd name="T68" fmla="*/ 7 w 374"/>
                <a:gd name="T69" fmla="*/ 358 h 372"/>
                <a:gd name="T70" fmla="*/ 11 w 374"/>
                <a:gd name="T71" fmla="*/ 363 h 372"/>
                <a:gd name="T72" fmla="*/ 11 w 374"/>
                <a:gd name="T73" fmla="*/ 36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4" h="372">
                  <a:moveTo>
                    <a:pt x="11" y="363"/>
                  </a:moveTo>
                  <a:lnTo>
                    <a:pt x="11" y="363"/>
                  </a:lnTo>
                  <a:lnTo>
                    <a:pt x="16" y="366"/>
                  </a:lnTo>
                  <a:lnTo>
                    <a:pt x="21" y="370"/>
                  </a:lnTo>
                  <a:lnTo>
                    <a:pt x="28" y="372"/>
                  </a:lnTo>
                  <a:lnTo>
                    <a:pt x="33" y="372"/>
                  </a:lnTo>
                  <a:lnTo>
                    <a:pt x="33" y="372"/>
                  </a:lnTo>
                  <a:lnTo>
                    <a:pt x="40" y="372"/>
                  </a:lnTo>
                  <a:lnTo>
                    <a:pt x="45" y="370"/>
                  </a:lnTo>
                  <a:lnTo>
                    <a:pt x="52" y="366"/>
                  </a:lnTo>
                  <a:lnTo>
                    <a:pt x="57" y="363"/>
                  </a:lnTo>
                  <a:lnTo>
                    <a:pt x="308" y="113"/>
                  </a:lnTo>
                  <a:lnTo>
                    <a:pt x="308" y="217"/>
                  </a:lnTo>
                  <a:lnTo>
                    <a:pt x="308" y="217"/>
                  </a:lnTo>
                  <a:lnTo>
                    <a:pt x="308" y="224"/>
                  </a:lnTo>
                  <a:lnTo>
                    <a:pt x="310" y="229"/>
                  </a:lnTo>
                  <a:lnTo>
                    <a:pt x="313" y="234"/>
                  </a:lnTo>
                  <a:lnTo>
                    <a:pt x="316" y="240"/>
                  </a:lnTo>
                  <a:lnTo>
                    <a:pt x="322" y="243"/>
                  </a:lnTo>
                  <a:lnTo>
                    <a:pt x="327" y="246"/>
                  </a:lnTo>
                  <a:lnTo>
                    <a:pt x="334" y="248"/>
                  </a:lnTo>
                  <a:lnTo>
                    <a:pt x="341" y="250"/>
                  </a:lnTo>
                  <a:lnTo>
                    <a:pt x="341" y="250"/>
                  </a:lnTo>
                  <a:lnTo>
                    <a:pt x="346" y="248"/>
                  </a:lnTo>
                  <a:lnTo>
                    <a:pt x="353" y="246"/>
                  </a:lnTo>
                  <a:lnTo>
                    <a:pt x="358" y="243"/>
                  </a:lnTo>
                  <a:lnTo>
                    <a:pt x="363" y="240"/>
                  </a:lnTo>
                  <a:lnTo>
                    <a:pt x="367" y="234"/>
                  </a:lnTo>
                  <a:lnTo>
                    <a:pt x="370" y="229"/>
                  </a:lnTo>
                  <a:lnTo>
                    <a:pt x="372" y="224"/>
                  </a:lnTo>
                  <a:lnTo>
                    <a:pt x="374" y="217"/>
                  </a:lnTo>
                  <a:lnTo>
                    <a:pt x="374" y="33"/>
                  </a:lnTo>
                  <a:lnTo>
                    <a:pt x="374" y="33"/>
                  </a:lnTo>
                  <a:lnTo>
                    <a:pt x="372" y="26"/>
                  </a:lnTo>
                  <a:lnTo>
                    <a:pt x="370" y="20"/>
                  </a:lnTo>
                  <a:lnTo>
                    <a:pt x="367" y="15"/>
                  </a:lnTo>
                  <a:lnTo>
                    <a:pt x="363" y="10"/>
                  </a:lnTo>
                  <a:lnTo>
                    <a:pt x="358" y="5"/>
                  </a:lnTo>
                  <a:lnTo>
                    <a:pt x="353" y="3"/>
                  </a:lnTo>
                  <a:lnTo>
                    <a:pt x="346" y="1"/>
                  </a:lnTo>
                  <a:lnTo>
                    <a:pt x="341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7" y="5"/>
                  </a:lnTo>
                  <a:lnTo>
                    <a:pt x="134" y="10"/>
                  </a:lnTo>
                  <a:lnTo>
                    <a:pt x="129" y="15"/>
                  </a:lnTo>
                  <a:lnTo>
                    <a:pt x="127" y="20"/>
                  </a:lnTo>
                  <a:lnTo>
                    <a:pt x="124" y="26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40"/>
                  </a:lnTo>
                  <a:lnTo>
                    <a:pt x="127" y="46"/>
                  </a:lnTo>
                  <a:lnTo>
                    <a:pt x="129" y="52"/>
                  </a:lnTo>
                  <a:lnTo>
                    <a:pt x="134" y="57"/>
                  </a:lnTo>
                  <a:lnTo>
                    <a:pt x="137" y="60"/>
                  </a:lnTo>
                  <a:lnTo>
                    <a:pt x="144" y="64"/>
                  </a:lnTo>
                  <a:lnTo>
                    <a:pt x="150" y="66"/>
                  </a:lnTo>
                  <a:lnTo>
                    <a:pt x="157" y="66"/>
                  </a:lnTo>
                  <a:lnTo>
                    <a:pt x="261" y="66"/>
                  </a:lnTo>
                  <a:lnTo>
                    <a:pt x="11" y="316"/>
                  </a:lnTo>
                  <a:lnTo>
                    <a:pt x="11" y="316"/>
                  </a:lnTo>
                  <a:lnTo>
                    <a:pt x="7" y="321"/>
                  </a:lnTo>
                  <a:lnTo>
                    <a:pt x="4" y="326"/>
                  </a:lnTo>
                  <a:lnTo>
                    <a:pt x="2" y="333"/>
                  </a:lnTo>
                  <a:lnTo>
                    <a:pt x="0" y="339"/>
                  </a:lnTo>
                  <a:lnTo>
                    <a:pt x="2" y="346"/>
                  </a:lnTo>
                  <a:lnTo>
                    <a:pt x="4" y="353"/>
                  </a:lnTo>
                  <a:lnTo>
                    <a:pt x="7" y="358"/>
                  </a:lnTo>
                  <a:lnTo>
                    <a:pt x="11" y="363"/>
                  </a:lnTo>
                  <a:lnTo>
                    <a:pt x="11" y="363"/>
                  </a:lnTo>
                  <a:close/>
                  <a:moveTo>
                    <a:pt x="11" y="363"/>
                  </a:moveTo>
                  <a:lnTo>
                    <a:pt x="11" y="3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75">
              <a:extLst>
                <a:ext uri="{FF2B5EF4-FFF2-40B4-BE49-F238E27FC236}">
                  <a16:creationId xmlns:a16="http://schemas.microsoft.com/office/drawing/2014/main" id="{E9DFA32E-D5D1-40CA-B265-CB624B94B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8995" y="1523176"/>
              <a:ext cx="296862" cy="295275"/>
            </a:xfrm>
            <a:custGeom>
              <a:avLst/>
              <a:gdLst>
                <a:gd name="T0" fmla="*/ 11 w 374"/>
                <a:gd name="T1" fmla="*/ 363 h 372"/>
                <a:gd name="T2" fmla="*/ 21 w 374"/>
                <a:gd name="T3" fmla="*/ 370 h 372"/>
                <a:gd name="T4" fmla="*/ 33 w 374"/>
                <a:gd name="T5" fmla="*/ 372 h 372"/>
                <a:gd name="T6" fmla="*/ 40 w 374"/>
                <a:gd name="T7" fmla="*/ 372 h 372"/>
                <a:gd name="T8" fmla="*/ 52 w 374"/>
                <a:gd name="T9" fmla="*/ 366 h 372"/>
                <a:gd name="T10" fmla="*/ 308 w 374"/>
                <a:gd name="T11" fmla="*/ 113 h 372"/>
                <a:gd name="T12" fmla="*/ 308 w 374"/>
                <a:gd name="T13" fmla="*/ 217 h 372"/>
                <a:gd name="T14" fmla="*/ 310 w 374"/>
                <a:gd name="T15" fmla="*/ 229 h 372"/>
                <a:gd name="T16" fmla="*/ 316 w 374"/>
                <a:gd name="T17" fmla="*/ 240 h 372"/>
                <a:gd name="T18" fmla="*/ 327 w 374"/>
                <a:gd name="T19" fmla="*/ 246 h 372"/>
                <a:gd name="T20" fmla="*/ 341 w 374"/>
                <a:gd name="T21" fmla="*/ 250 h 372"/>
                <a:gd name="T22" fmla="*/ 346 w 374"/>
                <a:gd name="T23" fmla="*/ 248 h 372"/>
                <a:gd name="T24" fmla="*/ 358 w 374"/>
                <a:gd name="T25" fmla="*/ 243 h 372"/>
                <a:gd name="T26" fmla="*/ 367 w 374"/>
                <a:gd name="T27" fmla="*/ 234 h 372"/>
                <a:gd name="T28" fmla="*/ 372 w 374"/>
                <a:gd name="T29" fmla="*/ 224 h 372"/>
                <a:gd name="T30" fmla="*/ 374 w 374"/>
                <a:gd name="T31" fmla="*/ 33 h 372"/>
                <a:gd name="T32" fmla="*/ 372 w 374"/>
                <a:gd name="T33" fmla="*/ 26 h 372"/>
                <a:gd name="T34" fmla="*/ 367 w 374"/>
                <a:gd name="T35" fmla="*/ 15 h 372"/>
                <a:gd name="T36" fmla="*/ 358 w 374"/>
                <a:gd name="T37" fmla="*/ 5 h 372"/>
                <a:gd name="T38" fmla="*/ 346 w 374"/>
                <a:gd name="T39" fmla="*/ 1 h 372"/>
                <a:gd name="T40" fmla="*/ 157 w 374"/>
                <a:gd name="T41" fmla="*/ 0 h 372"/>
                <a:gd name="T42" fmla="*/ 150 w 374"/>
                <a:gd name="T43" fmla="*/ 1 h 372"/>
                <a:gd name="T44" fmla="*/ 137 w 374"/>
                <a:gd name="T45" fmla="*/ 5 h 372"/>
                <a:gd name="T46" fmla="*/ 129 w 374"/>
                <a:gd name="T47" fmla="*/ 15 h 372"/>
                <a:gd name="T48" fmla="*/ 124 w 374"/>
                <a:gd name="T49" fmla="*/ 26 h 372"/>
                <a:gd name="T50" fmla="*/ 124 w 374"/>
                <a:gd name="T51" fmla="*/ 33 h 372"/>
                <a:gd name="T52" fmla="*/ 127 w 374"/>
                <a:gd name="T53" fmla="*/ 46 h 372"/>
                <a:gd name="T54" fmla="*/ 134 w 374"/>
                <a:gd name="T55" fmla="*/ 57 h 372"/>
                <a:gd name="T56" fmla="*/ 144 w 374"/>
                <a:gd name="T57" fmla="*/ 64 h 372"/>
                <a:gd name="T58" fmla="*/ 157 w 374"/>
                <a:gd name="T59" fmla="*/ 66 h 372"/>
                <a:gd name="T60" fmla="*/ 11 w 374"/>
                <a:gd name="T61" fmla="*/ 316 h 372"/>
                <a:gd name="T62" fmla="*/ 7 w 374"/>
                <a:gd name="T63" fmla="*/ 321 h 372"/>
                <a:gd name="T64" fmla="*/ 2 w 374"/>
                <a:gd name="T65" fmla="*/ 333 h 372"/>
                <a:gd name="T66" fmla="*/ 2 w 374"/>
                <a:gd name="T67" fmla="*/ 346 h 372"/>
                <a:gd name="T68" fmla="*/ 7 w 374"/>
                <a:gd name="T69" fmla="*/ 358 h 372"/>
                <a:gd name="T70" fmla="*/ 11 w 374"/>
                <a:gd name="T71" fmla="*/ 36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4" h="372">
                  <a:moveTo>
                    <a:pt x="11" y="363"/>
                  </a:moveTo>
                  <a:lnTo>
                    <a:pt x="11" y="363"/>
                  </a:lnTo>
                  <a:lnTo>
                    <a:pt x="16" y="366"/>
                  </a:lnTo>
                  <a:lnTo>
                    <a:pt x="21" y="370"/>
                  </a:lnTo>
                  <a:lnTo>
                    <a:pt x="28" y="372"/>
                  </a:lnTo>
                  <a:lnTo>
                    <a:pt x="33" y="372"/>
                  </a:lnTo>
                  <a:lnTo>
                    <a:pt x="33" y="372"/>
                  </a:lnTo>
                  <a:lnTo>
                    <a:pt x="40" y="372"/>
                  </a:lnTo>
                  <a:lnTo>
                    <a:pt x="45" y="370"/>
                  </a:lnTo>
                  <a:lnTo>
                    <a:pt x="52" y="366"/>
                  </a:lnTo>
                  <a:lnTo>
                    <a:pt x="57" y="363"/>
                  </a:lnTo>
                  <a:lnTo>
                    <a:pt x="308" y="113"/>
                  </a:lnTo>
                  <a:lnTo>
                    <a:pt x="308" y="217"/>
                  </a:lnTo>
                  <a:lnTo>
                    <a:pt x="308" y="217"/>
                  </a:lnTo>
                  <a:lnTo>
                    <a:pt x="308" y="224"/>
                  </a:lnTo>
                  <a:lnTo>
                    <a:pt x="310" y="229"/>
                  </a:lnTo>
                  <a:lnTo>
                    <a:pt x="313" y="234"/>
                  </a:lnTo>
                  <a:lnTo>
                    <a:pt x="316" y="240"/>
                  </a:lnTo>
                  <a:lnTo>
                    <a:pt x="322" y="243"/>
                  </a:lnTo>
                  <a:lnTo>
                    <a:pt x="327" y="246"/>
                  </a:lnTo>
                  <a:lnTo>
                    <a:pt x="334" y="248"/>
                  </a:lnTo>
                  <a:lnTo>
                    <a:pt x="341" y="250"/>
                  </a:lnTo>
                  <a:lnTo>
                    <a:pt x="341" y="250"/>
                  </a:lnTo>
                  <a:lnTo>
                    <a:pt x="346" y="248"/>
                  </a:lnTo>
                  <a:lnTo>
                    <a:pt x="353" y="246"/>
                  </a:lnTo>
                  <a:lnTo>
                    <a:pt x="358" y="243"/>
                  </a:lnTo>
                  <a:lnTo>
                    <a:pt x="363" y="240"/>
                  </a:lnTo>
                  <a:lnTo>
                    <a:pt x="367" y="234"/>
                  </a:lnTo>
                  <a:lnTo>
                    <a:pt x="370" y="229"/>
                  </a:lnTo>
                  <a:lnTo>
                    <a:pt x="372" y="224"/>
                  </a:lnTo>
                  <a:lnTo>
                    <a:pt x="374" y="217"/>
                  </a:lnTo>
                  <a:lnTo>
                    <a:pt x="374" y="33"/>
                  </a:lnTo>
                  <a:lnTo>
                    <a:pt x="374" y="33"/>
                  </a:lnTo>
                  <a:lnTo>
                    <a:pt x="372" y="26"/>
                  </a:lnTo>
                  <a:lnTo>
                    <a:pt x="370" y="20"/>
                  </a:lnTo>
                  <a:lnTo>
                    <a:pt x="367" y="15"/>
                  </a:lnTo>
                  <a:lnTo>
                    <a:pt x="363" y="10"/>
                  </a:lnTo>
                  <a:lnTo>
                    <a:pt x="358" y="5"/>
                  </a:lnTo>
                  <a:lnTo>
                    <a:pt x="353" y="3"/>
                  </a:lnTo>
                  <a:lnTo>
                    <a:pt x="346" y="1"/>
                  </a:lnTo>
                  <a:lnTo>
                    <a:pt x="341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7" y="5"/>
                  </a:lnTo>
                  <a:lnTo>
                    <a:pt x="134" y="10"/>
                  </a:lnTo>
                  <a:lnTo>
                    <a:pt x="129" y="15"/>
                  </a:lnTo>
                  <a:lnTo>
                    <a:pt x="127" y="20"/>
                  </a:lnTo>
                  <a:lnTo>
                    <a:pt x="124" y="26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40"/>
                  </a:lnTo>
                  <a:lnTo>
                    <a:pt x="127" y="46"/>
                  </a:lnTo>
                  <a:lnTo>
                    <a:pt x="129" y="52"/>
                  </a:lnTo>
                  <a:lnTo>
                    <a:pt x="134" y="57"/>
                  </a:lnTo>
                  <a:lnTo>
                    <a:pt x="137" y="60"/>
                  </a:lnTo>
                  <a:lnTo>
                    <a:pt x="144" y="64"/>
                  </a:lnTo>
                  <a:lnTo>
                    <a:pt x="150" y="66"/>
                  </a:lnTo>
                  <a:lnTo>
                    <a:pt x="157" y="66"/>
                  </a:lnTo>
                  <a:lnTo>
                    <a:pt x="261" y="66"/>
                  </a:lnTo>
                  <a:lnTo>
                    <a:pt x="11" y="316"/>
                  </a:lnTo>
                  <a:lnTo>
                    <a:pt x="11" y="316"/>
                  </a:lnTo>
                  <a:lnTo>
                    <a:pt x="7" y="321"/>
                  </a:lnTo>
                  <a:lnTo>
                    <a:pt x="4" y="326"/>
                  </a:lnTo>
                  <a:lnTo>
                    <a:pt x="2" y="333"/>
                  </a:lnTo>
                  <a:lnTo>
                    <a:pt x="0" y="339"/>
                  </a:lnTo>
                  <a:lnTo>
                    <a:pt x="2" y="346"/>
                  </a:lnTo>
                  <a:lnTo>
                    <a:pt x="4" y="353"/>
                  </a:lnTo>
                  <a:lnTo>
                    <a:pt x="7" y="358"/>
                  </a:lnTo>
                  <a:lnTo>
                    <a:pt x="11" y="363"/>
                  </a:lnTo>
                  <a:lnTo>
                    <a:pt x="11" y="363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Line 76">
              <a:extLst>
                <a:ext uri="{FF2B5EF4-FFF2-40B4-BE49-F238E27FC236}">
                  <a16:creationId xmlns:a16="http://schemas.microsoft.com/office/drawing/2014/main" id="{045AFA0E-6DBA-43F4-BD96-0217033877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6932" y="181051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1483735-8C0C-436E-9B05-7D94479A2DB4}"/>
              </a:ext>
            </a:extLst>
          </p:cNvPr>
          <p:cNvCxnSpPr>
            <a:cxnSpLocks/>
          </p:cNvCxnSpPr>
          <p:nvPr/>
        </p:nvCxnSpPr>
        <p:spPr>
          <a:xfrm>
            <a:off x="6744072" y="1340768"/>
            <a:ext cx="0" cy="9720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7C0BA86D-F1E2-4946-AF01-E3481ECD3075}"/>
              </a:ext>
            </a:extLst>
          </p:cNvPr>
          <p:cNvCxnSpPr>
            <a:cxnSpLocks/>
          </p:cNvCxnSpPr>
          <p:nvPr/>
        </p:nvCxnSpPr>
        <p:spPr>
          <a:xfrm>
            <a:off x="6744072" y="2673650"/>
            <a:ext cx="0" cy="9720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2D1ED164-4275-4387-AC41-E2D0570C9687}"/>
              </a:ext>
            </a:extLst>
          </p:cNvPr>
          <p:cNvCxnSpPr>
            <a:cxnSpLocks/>
          </p:cNvCxnSpPr>
          <p:nvPr/>
        </p:nvCxnSpPr>
        <p:spPr>
          <a:xfrm>
            <a:off x="6744072" y="3862842"/>
            <a:ext cx="0" cy="9720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BC45F44C-BA9F-479F-9D1B-6C6D0589527A}"/>
              </a:ext>
            </a:extLst>
          </p:cNvPr>
          <p:cNvCxnSpPr>
            <a:cxnSpLocks/>
          </p:cNvCxnSpPr>
          <p:nvPr/>
        </p:nvCxnSpPr>
        <p:spPr>
          <a:xfrm>
            <a:off x="6735891" y="5201174"/>
            <a:ext cx="0" cy="9720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1D20C512-ADC7-4FD1-93F7-621AB4CFF93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t="41" b="41"/>
          <a:stretch>
            <a:fillRect/>
          </a:stretch>
        </p:blipFill>
        <p:spPr>
          <a:xfrm>
            <a:off x="210773" y="232783"/>
            <a:ext cx="4542310" cy="5922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71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000" b="1" dirty="0" err="1">
              <a:latin typeface="Verdana"/>
              <a:ea typeface="+mj-ea"/>
              <a:cs typeface="Verdana"/>
              <a:sym typeface="Verdana"/>
            </a:endParaRPr>
          </a:p>
        </p:txBody>
      </p:sp>
      <p:graphicFrame>
        <p:nvGraphicFramePr>
          <p:cNvPr id="2" name="Chart 1"/>
          <p:cNvGraphicFramePr/>
          <p:nvPr/>
        </p:nvGraphicFramePr>
        <p:xfrm>
          <a:off x="554038" y="1556792"/>
          <a:ext cx="4608909" cy="4720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5447928" y="6356200"/>
            <a:ext cx="5949262" cy="307777"/>
          </a:xfrm>
        </p:spPr>
        <p:txBody>
          <a:bodyPr vert="horz" wrap="square" lIns="0" tIns="0" rIns="0" bIns="0" rtlCol="0" anchor="b" anchorCtr="0">
            <a:spAutoFit/>
          </a:bodyPr>
          <a:lstStyle/>
          <a:p>
            <a:pPr marL="114300" indent="-115824"/>
            <a:r>
              <a:rPr lang="ru-RU" sz="1000" i="0" dirty="0">
                <a:solidFill>
                  <a:schemeClr val="bg2"/>
                </a:solidFill>
                <a:latin typeface="+mn-lt"/>
                <a:cs typeface="+mn-cs"/>
              </a:rPr>
              <a:t>*за исключением личных коммуникационных устройств (ноутбуков, смартфонов, планшетов)</a:t>
            </a:r>
          </a:p>
          <a:p>
            <a:pPr marL="114300" indent="-115824"/>
            <a:r>
              <a:rPr lang="ru-RU" sz="1000" i="0" dirty="0">
                <a:solidFill>
                  <a:schemeClr val="bg2"/>
                </a:solidFill>
                <a:latin typeface="+mn-lt"/>
                <a:cs typeface="+mn-cs"/>
              </a:rPr>
              <a:t>ИСТОЧНИК: Аналитический отчет по </a:t>
            </a:r>
            <a:r>
              <a:rPr lang="ru-RU" sz="1000" i="0" dirty="0" err="1">
                <a:solidFill>
                  <a:schemeClr val="bg2"/>
                </a:solidFill>
                <a:latin typeface="+mn-lt"/>
                <a:cs typeface="+mn-cs"/>
              </a:rPr>
              <a:t>IoT</a:t>
            </a:r>
            <a:r>
              <a:rPr lang="ru-RU" sz="1000" i="0" dirty="0">
                <a:solidFill>
                  <a:schemeClr val="bg2"/>
                </a:solidFill>
                <a:latin typeface="+mn-lt"/>
                <a:cs typeface="+mn-cs"/>
              </a:rPr>
              <a:t>, 2018 г.</a:t>
            </a:r>
          </a:p>
        </p:txBody>
      </p:sp>
      <p:sp>
        <p:nvSpPr>
          <p:cNvPr id="5" name="TextBox 4"/>
          <p:cNvSpPr txBox="1"/>
          <p:nvPr/>
        </p:nvSpPr>
        <p:spPr bwMode="gray">
          <a:xfrm>
            <a:off x="5162947" y="5258956"/>
            <a:ext cx="648072" cy="258276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200" b="1"/>
              <a:t>LPW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72FB37-2059-4834-8A5A-11FE83C2ACDE}"/>
              </a:ext>
            </a:extLst>
          </p:cNvPr>
          <p:cNvSpPr txBox="1"/>
          <p:nvPr/>
        </p:nvSpPr>
        <p:spPr>
          <a:xfrm>
            <a:off x="6095999" y="982117"/>
            <a:ext cx="5688014" cy="51831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1917" tIns="60958" rIns="121917" bIns="60958" rtlCol="0" anchor="ctr">
            <a:no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200" b="1" dirty="0"/>
              <a:t>Все объекты </a:t>
            </a:r>
            <a:r>
              <a:rPr lang="ru-RU" sz="1200" b="1" dirty="0" err="1"/>
              <a:t>IoT</a:t>
            </a:r>
            <a:r>
              <a:rPr lang="ru-RU" sz="1200" b="1" dirty="0"/>
              <a:t>: </a:t>
            </a:r>
          </a:p>
          <a:p>
            <a:pPr marL="542925" lvl="1" indent="-180975">
              <a:spcBef>
                <a:spcPts val="600"/>
              </a:spcBef>
              <a:buFont typeface="Verdana" panose="020B0604030504040204" pitchFamily="34" charset="0"/>
              <a:buChar char="-"/>
            </a:pPr>
            <a:r>
              <a:rPr lang="ru-RU" sz="1200" b="1" dirty="0">
                <a:solidFill>
                  <a:schemeClr val="accent2"/>
                </a:solidFill>
              </a:rPr>
              <a:t>Десятки миллиардов объектов к 2030 г.</a:t>
            </a:r>
          </a:p>
          <a:p>
            <a:pPr marL="542925" lvl="1" indent="-180975">
              <a:spcBef>
                <a:spcPts val="600"/>
              </a:spcBef>
              <a:buFont typeface="Verdana" panose="020B0604030504040204" pitchFamily="34" charset="0"/>
              <a:buChar char="-"/>
            </a:pPr>
            <a:r>
              <a:rPr lang="ru-RU" sz="1200" dirty="0"/>
              <a:t>Предназначенные как для профессиональных (B2B), так и для частных (B2C) пользователей, большинство из них подключаются по </a:t>
            </a:r>
            <a:r>
              <a:rPr lang="ru-RU" sz="1200" dirty="0" err="1"/>
              <a:t>WiFi</a:t>
            </a:r>
            <a:r>
              <a:rPr lang="ru-RU" sz="1200" dirty="0"/>
              <a:t>, </a:t>
            </a:r>
            <a:r>
              <a:rPr lang="ru-RU" sz="1200" dirty="0" err="1"/>
              <a:t>Bluetooth</a:t>
            </a:r>
            <a:r>
              <a:rPr lang="ru-RU" sz="1200" dirty="0"/>
              <a:t> или даже с помощью проводных соединений </a:t>
            </a:r>
          </a:p>
          <a:p>
            <a:pPr marL="542925" lvl="1" indent="-180975">
              <a:buFont typeface="Verdana" panose="020B0604030504040204" pitchFamily="34" charset="0"/>
              <a:buChar char="-"/>
            </a:pPr>
            <a:endParaRPr lang="en-US" sz="12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200" b="1" dirty="0"/>
              <a:t>Объекты LPWA: </a:t>
            </a:r>
          </a:p>
          <a:p>
            <a:pPr marL="542925" lvl="1" indent="-180975">
              <a:spcBef>
                <a:spcPts val="600"/>
              </a:spcBef>
              <a:buFont typeface="Verdana" panose="020B0604030504040204" pitchFamily="34" charset="0"/>
              <a:buChar char="-"/>
            </a:pPr>
            <a:r>
              <a:rPr lang="ru-RU" sz="1200" b="1" dirty="0">
                <a:solidFill>
                  <a:schemeClr val="accent2"/>
                </a:solidFill>
              </a:rPr>
              <a:t>от 2 до 4,4 млрд. объектов к 2030 г. (примерно 15% от всего количества)</a:t>
            </a:r>
          </a:p>
          <a:p>
            <a:pPr marL="542925" lvl="1" indent="-180975">
              <a:spcBef>
                <a:spcPts val="600"/>
              </a:spcBef>
              <a:buFont typeface="Verdana" panose="020B0604030504040204" pitchFamily="34" charset="0"/>
              <a:buChar char="-"/>
            </a:pPr>
            <a:r>
              <a:rPr lang="ru-RU" sz="1200" dirty="0"/>
              <a:t>Конкретные технологии, специально предназначенные для </a:t>
            </a:r>
            <a:r>
              <a:rPr lang="ru-RU" sz="1200" dirty="0" err="1"/>
              <a:t>IoT</a:t>
            </a:r>
            <a:r>
              <a:rPr lang="ru-RU" sz="1200" dirty="0"/>
              <a:t>:</a:t>
            </a:r>
          </a:p>
          <a:p>
            <a:pPr marL="1000125" lvl="2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 err="1"/>
              <a:t>Sigfox</a:t>
            </a:r>
            <a:r>
              <a:rPr lang="ru-RU" sz="1100" dirty="0"/>
              <a:t> и </a:t>
            </a:r>
            <a:r>
              <a:rPr lang="ru-RU" sz="1100" dirty="0" err="1"/>
              <a:t>LoRa</a:t>
            </a:r>
            <a:r>
              <a:rPr lang="ru-RU" sz="1100" dirty="0"/>
              <a:t>: автономные сети, опережающие конкурентов</a:t>
            </a:r>
          </a:p>
          <a:p>
            <a:pPr marL="1000125" lvl="2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dirty="0"/>
              <a:t>NB-</a:t>
            </a:r>
            <a:r>
              <a:rPr lang="ru-RU" sz="1100" dirty="0" err="1"/>
              <a:t>IoT</a:t>
            </a:r>
            <a:r>
              <a:rPr lang="ru-RU" sz="1100" dirty="0"/>
              <a:t> и LTE-M: разрабатываются для развертывания в телекоммуникационных сетях, но еще не прошедшие полную стандартизацию =&gt; ожидается, что к 2025-2030 годам будут представлять свыше 60% рынка</a:t>
            </a:r>
          </a:p>
          <a:p>
            <a:pPr marL="542925" lvl="1" indent="-180975">
              <a:spcBef>
                <a:spcPts val="600"/>
              </a:spcBef>
              <a:buFont typeface="Verdana" panose="020B0604030504040204" pitchFamily="34" charset="0"/>
              <a:buChar char="-"/>
            </a:pPr>
            <a:r>
              <a:rPr lang="ru-RU" sz="1200" dirty="0"/>
              <a:t>Основные характеристики: </a:t>
            </a:r>
          </a:p>
          <a:p>
            <a:pPr marL="1200150" lvl="2" indent="-28575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100" dirty="0"/>
              <a:t>Беспроводная связь большого радиуса действия</a:t>
            </a:r>
          </a:p>
          <a:p>
            <a:pPr marL="1200150" lvl="2" indent="-28575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100" dirty="0"/>
              <a:t>Длительный срок службы элемента питания объекта</a:t>
            </a:r>
          </a:p>
          <a:p>
            <a:pPr marL="1200150" lvl="2" indent="-28575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100" dirty="0"/>
              <a:t>Подключение с очень низким средним доходом на одного абонента (ARPU)</a:t>
            </a:r>
          </a:p>
          <a:p>
            <a:pPr marL="1200150" lvl="2" indent="-28575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100" dirty="0"/>
              <a:t>Очень низкая стоимость модуля</a:t>
            </a:r>
          </a:p>
          <a:p>
            <a:pPr marL="1200150" lvl="2" indent="-285750" algn="just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100" dirty="0"/>
              <a:t>Трафик типа обмена сообщениями</a:t>
            </a:r>
          </a:p>
          <a:p>
            <a:pPr marL="542925" lvl="1" indent="-180975">
              <a:spcBef>
                <a:spcPts val="600"/>
              </a:spcBef>
              <a:spcAft>
                <a:spcPts val="100"/>
              </a:spcAft>
              <a:buFont typeface="Verdana" panose="020B0604030504040204" pitchFamily="34" charset="0"/>
              <a:buChar char="-"/>
            </a:pPr>
            <a:r>
              <a:rPr lang="ru-RU" sz="1200" dirty="0"/>
              <a:t>Основные режимы использования, главным образом  для профессиональных (B2B) пользователей: коммунальные компании, интеллектуальные города, транспорт и логистика, безопасность, сельское хозяйство и т.п.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973535" y="1680657"/>
            <a:ext cx="3384376" cy="258276"/>
          </a:xfrm>
          <a:prstGeom prst="rect">
            <a:avLst/>
          </a:prstGeom>
          <a:noFill/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200" dirty="0"/>
              <a:t>Млрд. устройств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496888" y="1082492"/>
            <a:ext cx="5328989" cy="258276"/>
          </a:xfrm>
          <a:prstGeom prst="rect">
            <a:avLst/>
          </a:prstGeom>
          <a:noFill/>
        </p:spPr>
        <p:txBody>
          <a:bodyPr vert="horz" wrap="square" lIns="36449" tIns="36449" rIns="36449" bIns="36449" rtlCol="0">
            <a:spAutoFit/>
          </a:bodyPr>
          <a:lstStyle/>
          <a:p>
            <a:pPr algn="ctr"/>
            <a:r>
              <a:rPr lang="ru-RU" sz="1200" b="1" dirty="0"/>
              <a:t>Управление физическими объектами через Интернет (</a:t>
            </a:r>
            <a:r>
              <a:rPr lang="ru-RU" sz="1200" b="1" dirty="0" err="1"/>
              <a:t>IoT</a:t>
            </a:r>
            <a:r>
              <a:rPr lang="ru-RU" sz="1200" b="1" dirty="0"/>
              <a:t>)</a:t>
            </a:r>
            <a:r>
              <a:rPr lang="ru-RU" sz="1200" dirty="0"/>
              <a:t> = суммарное количество подключенных объектов*</a:t>
            </a:r>
          </a:p>
        </p:txBody>
      </p:sp>
      <p:sp>
        <p:nvSpPr>
          <p:cNvPr id="16" name="Title 3"/>
          <p:cNvSpPr>
            <a:spLocks noGrp="1"/>
          </p:cNvSpPr>
          <p:nvPr>
            <p:ph type="title"/>
          </p:nvPr>
        </p:nvSpPr>
        <p:spPr>
          <a:xfrm>
            <a:off x="191344" y="50506"/>
            <a:ext cx="12004312" cy="707886"/>
          </a:xfrm>
        </p:spPr>
        <p:txBody>
          <a:bodyPr/>
          <a:lstStyle/>
          <a:p>
            <a:r>
              <a:rPr lang="ru-RU" sz="2000" dirty="0"/>
              <a:t>Среди миллиардов объектов, которые будут подключены к сети в будущем, </a:t>
            </a:r>
            <a:br>
              <a:rPr lang="en-US" sz="2000" dirty="0"/>
            </a:br>
            <a:r>
              <a:rPr lang="ru-RU" sz="2000" dirty="0"/>
              <a:t>приблизительно 15% будут использовать специализированные технологии LPWA</a:t>
            </a:r>
          </a:p>
        </p:txBody>
      </p:sp>
    </p:spTree>
    <p:extLst>
      <p:ext uri="{BB962C8B-B14F-4D97-AF65-F5344CB8AC3E}">
        <p14:creationId xmlns:p14="http://schemas.microsoft.com/office/powerpoint/2010/main" val="33064172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EC66C1-874C-444E-8F61-4621C35561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80965" y="6463430"/>
            <a:ext cx="72768" cy="195814"/>
          </a:xfrm>
        </p:spPr>
        <p:txBody>
          <a:bodyPr/>
          <a:lstStyle/>
          <a:p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B8653D2-7764-4878-95E9-2D48AD70663E}"/>
              </a:ext>
            </a:extLst>
          </p:cNvPr>
          <p:cNvSpPr/>
          <p:nvPr/>
        </p:nvSpPr>
        <p:spPr>
          <a:xfrm>
            <a:off x="335360" y="283253"/>
            <a:ext cx="11593288" cy="40011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square" lIns="0" tIns="45720" rIns="0" bIns="45720" rtlCol="0" anchor="ctr">
            <a:spAutoFit/>
          </a:bodyPr>
          <a:lstStyle/>
          <a:p>
            <a:pPr>
              <a:spcBef>
                <a:spcPct val="0"/>
              </a:spcBef>
            </a:pPr>
            <a:r>
              <a:rPr lang="ru-RU" sz="2000" cap="all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Только спутник может обеспечить глобальное покрытие: для объектов LPW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D5FBA8F-7FC3-4E5C-9ABE-6D915DC0CB3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4152" y="2350229"/>
            <a:ext cx="4319861" cy="246894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772FB37-2059-4834-8A5A-11FE83C2ACDE}"/>
              </a:ext>
            </a:extLst>
          </p:cNvPr>
          <p:cNvSpPr txBox="1"/>
          <p:nvPr/>
        </p:nvSpPr>
        <p:spPr>
          <a:xfrm>
            <a:off x="432818" y="980728"/>
            <a:ext cx="6887318" cy="51831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1917" tIns="60958" rIns="121917" bIns="60958" rtlCol="0" anchor="ctr">
            <a:no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600" b="1" dirty="0"/>
              <a:t>75% территории Земли – белое пятно</a:t>
            </a:r>
            <a:r>
              <a:rPr lang="ru-RU" sz="1600" dirty="0"/>
              <a:t> с ненадежным / отсутствующим покрытием наземными телекоммуникационными службами</a:t>
            </a:r>
          </a:p>
          <a:p>
            <a:pPr marL="523875" lvl="1" indent="-1619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/>
              <a:t>Сотовая связь (3G, 4G) и LPWA (</a:t>
            </a:r>
            <a:r>
              <a:rPr lang="ru-RU" sz="1400" dirty="0" err="1"/>
              <a:t>LoRa</a:t>
            </a:r>
            <a:r>
              <a:rPr lang="ru-RU" sz="1400" dirty="0"/>
              <a:t>, NB-</a:t>
            </a:r>
            <a:r>
              <a:rPr lang="ru-RU" sz="1400" dirty="0" err="1"/>
              <a:t>IoT</a:t>
            </a:r>
            <a:r>
              <a:rPr lang="ru-RU" sz="1400" dirty="0"/>
              <a:t>, LTE-M) покрывают только города и частично сельские районы</a:t>
            </a:r>
          </a:p>
          <a:p>
            <a:pPr marL="523875" lvl="1" indent="-1619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/>
              <a:t>Большинство труднодоступных зон (горы, пустыни, моря, океаны) не покрываются наземными сетями</a:t>
            </a:r>
          </a:p>
          <a:p>
            <a:pPr marL="838179" lvl="1" indent="-38099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342900" lvl="0" indent="-342900">
              <a:buFont typeface="Wingdings" panose="05000000000000000000" pitchFamily="2" charset="2"/>
              <a:buChar char="Ø"/>
            </a:pPr>
            <a:r>
              <a:rPr lang="ru-RU" sz="1600" b="1" dirty="0"/>
              <a:t>Только спутниковые коммуникационные службы способны обеспечить покрытие этих регионов, однако... </a:t>
            </a:r>
          </a:p>
          <a:p>
            <a:pPr marL="342900" lvl="0" indent="-34290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342900" lvl="0" indent="-342900">
              <a:buFont typeface="Wingdings" panose="05000000000000000000" pitchFamily="2" charset="2"/>
              <a:buChar char="Ø"/>
            </a:pPr>
            <a:r>
              <a:rPr lang="ru-RU" sz="1600" b="1" dirty="0"/>
              <a:t>...устаревшие спутниковые коммуникационные службы не рассчитаны на обслуживание приложений </a:t>
            </a:r>
            <a:r>
              <a:rPr lang="ru-RU" sz="1600" b="1" dirty="0" err="1"/>
              <a:t>IoT</a:t>
            </a:r>
            <a:endParaRPr lang="ru-RU" sz="1600" b="1" dirty="0"/>
          </a:p>
          <a:p>
            <a:pPr marL="523875" lvl="1" indent="-1619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/>
              <a:t>Это связано со сложностями при их настройке и эксплуатации, и с отсутствием интеграции с наземными технологиями </a:t>
            </a:r>
            <a:r>
              <a:rPr lang="ru-RU" sz="1400" dirty="0" err="1"/>
              <a:t>IoT</a:t>
            </a:r>
            <a:endParaRPr lang="ru-RU" sz="1400" dirty="0"/>
          </a:p>
          <a:p>
            <a:pPr marL="523875" lvl="1" indent="-1619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/>
              <a:t>Они требуют применения громоздких и потребляющих значительную мощность терминалов</a:t>
            </a:r>
          </a:p>
          <a:p>
            <a:pPr marL="523875" lvl="1" indent="-161925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/>
              <a:t>Цены терминалов и соединений несовместимы со сценариями использования </a:t>
            </a:r>
            <a:r>
              <a:rPr lang="ru-RU" sz="1400" dirty="0" err="1"/>
              <a:t>IoT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029410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" name="Image 9">
            <a:extLst>
              <a:ext uri="{FF2B5EF4-FFF2-40B4-BE49-F238E27FC236}">
                <a16:creationId xmlns:a16="http://schemas.microsoft.com/office/drawing/2014/main" id="{4C30BBCD-1039-4B0F-9A08-B0ADB3C4E66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53" r="44174"/>
          <a:stretch/>
        </p:blipFill>
        <p:spPr>
          <a:xfrm>
            <a:off x="7775556" y="0"/>
            <a:ext cx="4416443" cy="6858000"/>
          </a:xfrm>
          <a:prstGeom prst="rect">
            <a:avLst/>
          </a:prstGeom>
        </p:spPr>
      </p:pic>
      <p:sp>
        <p:nvSpPr>
          <p:cNvPr id="233" name="Text Placeholder 4">
            <a:extLst>
              <a:ext uri="{FF2B5EF4-FFF2-40B4-BE49-F238E27FC236}">
                <a16:creationId xmlns:a16="http://schemas.microsoft.com/office/drawing/2014/main" id="{F375F94B-1F3C-46D7-9C83-EC3BED26C4BC}"/>
              </a:ext>
            </a:extLst>
          </p:cNvPr>
          <p:cNvSpPr txBox="1">
            <a:spLocks/>
          </p:cNvSpPr>
          <p:nvPr/>
        </p:nvSpPr>
        <p:spPr>
          <a:xfrm>
            <a:off x="8240376" y="548680"/>
            <a:ext cx="3663292" cy="700696"/>
          </a:xfrm>
          <a:prstGeom prst="rect">
            <a:avLst/>
          </a:prstGeom>
        </p:spPr>
        <p:txBody>
          <a:bodyPr vert="horz" wrap="square" lIns="0" tIns="72000" rIns="36449" bIns="36449" rtlCol="0" anchor="t">
            <a:sp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60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lang="en-US" sz="2400" b="0" kern="1200" cap="none" baseline="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70000"/>
              <a:buFont typeface="Wingdings 3" panose="05040102010807070707" pitchFamily="18" charset="2"/>
              <a:buNone/>
              <a:defRPr lang="en-US" sz="20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Wingdings" panose="05000000000000000000" pitchFamily="2" charset="2"/>
              <a:buNone/>
              <a:defRPr lang="en-US" sz="18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None/>
              <a:defRPr lang="en-US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>
                <a:solidFill>
                  <a:schemeClr val="bg1"/>
                </a:solidFill>
              </a:rPr>
              <a:t>ОТЛИЧИТЕЛЬНЫЕ ОСОБЕННОСТИ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3445" y="271885"/>
            <a:ext cx="7602111" cy="702698"/>
          </a:xfrm>
        </p:spPr>
        <p:txBody>
          <a:bodyPr/>
          <a:lstStyle/>
          <a:p>
            <a:r>
              <a:rPr lang="ru-RU" sz="2000" b="0" dirty="0"/>
              <a:t>Проект ELO: новая группировка, обеспечивающая</a:t>
            </a:r>
            <a:br>
              <a:rPr lang="ru-RU" sz="2000" b="0" dirty="0"/>
            </a:br>
            <a:r>
              <a:rPr lang="ru-RU" sz="2000" b="0" dirty="0"/>
              <a:t> глобальное покрытие ДЛЯ ВСЕХ СЕТЕЙ LPWA</a:t>
            </a:r>
          </a:p>
        </p:txBody>
      </p:sp>
      <p:sp>
        <p:nvSpPr>
          <p:cNvPr id="19" name="Content Placeholder 1"/>
          <p:cNvSpPr txBox="1">
            <a:spLocks/>
          </p:cNvSpPr>
          <p:nvPr/>
        </p:nvSpPr>
        <p:spPr bwMode="gray">
          <a:xfrm>
            <a:off x="8112223" y="1533551"/>
            <a:ext cx="3791445" cy="376765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72898" rIns="0" bIns="72898" rtlCol="0" anchor="t">
            <a:noAutofit/>
          </a:bodyPr>
          <a:lstStyle>
            <a:lvl1pPr marL="342900" indent="-287338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80000"/>
              <a:buFont typeface="Webdings" panose="05030102010509060703" pitchFamily="18" charset="2"/>
              <a:buChar char="/"/>
              <a:defRPr sz="2000" b="1" i="0" kern="1200" baseline="0">
                <a:solidFill>
                  <a:srgbClr val="003C78"/>
                </a:solidFill>
                <a:latin typeface="Verdana"/>
                <a:ea typeface="+mn-ea"/>
                <a:cs typeface="Verdana"/>
              </a:defRPr>
            </a:lvl1pPr>
            <a:lvl2pPr marL="627063" indent="-266700" algn="l" defTabSz="457200" rtl="0" eaLnBrk="1" latinLnBrk="0" hangingPunct="1">
              <a:spcBef>
                <a:spcPct val="20000"/>
              </a:spcBef>
              <a:buClr>
                <a:srgbClr val="003C78"/>
              </a:buClr>
              <a:buSzPct val="80000"/>
              <a:buFont typeface="Wingdings" panose="05000000000000000000" pitchFamily="2" charset="2"/>
              <a:buChar char="è"/>
              <a:defRPr sz="1800" b="1" i="0" kern="1200" baseline="0">
                <a:solidFill>
                  <a:srgbClr val="7F7F7F"/>
                </a:solidFill>
                <a:latin typeface="Verdana"/>
                <a:ea typeface="+mn-ea"/>
                <a:cs typeface="Verdana"/>
              </a:defRPr>
            </a:lvl2pPr>
            <a:lvl3pPr marL="855663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à"/>
              <a:tabLst/>
              <a:defRPr sz="1600" b="1" i="0" kern="1200">
                <a:solidFill>
                  <a:schemeClr val="accent2"/>
                </a:solidFill>
                <a:latin typeface="Verdana"/>
                <a:ea typeface="+mn-ea"/>
                <a:cs typeface="Verdana"/>
              </a:defRPr>
            </a:lvl3pPr>
            <a:lvl4pPr marL="1166813" indent="-18415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1435100" indent="-176213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indent="-176213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Wingdings" panose="05000000000000000000" pitchFamily="2" charset="2"/>
              <a:buChar char="à"/>
            </a:pPr>
            <a:r>
              <a:rPr lang="ru-RU" sz="1200" dirty="0">
                <a:solidFill>
                  <a:schemeClr val="bg1"/>
                </a:solidFill>
              </a:rPr>
              <a:t>Интеграция наземной + спутниковой связи: </a:t>
            </a:r>
            <a:r>
              <a:rPr lang="ru-RU" sz="1200" b="0" dirty="0">
                <a:solidFill>
                  <a:schemeClr val="bg1"/>
                </a:solidFill>
              </a:rPr>
              <a:t>один чипсет для подключения к обеим сетям с использованием одних и тех же частот, один формат для сообщений</a:t>
            </a:r>
          </a:p>
          <a:p>
            <a:pPr marL="176213" indent="-176213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Wingdings" panose="05000000000000000000" pitchFamily="2" charset="2"/>
              <a:buChar char="à"/>
            </a:pPr>
            <a:r>
              <a:rPr lang="ru-RU" sz="1200" dirty="0">
                <a:solidFill>
                  <a:schemeClr val="bg1"/>
                </a:solidFill>
              </a:rPr>
              <a:t>Дополнение к наземным сетям </a:t>
            </a:r>
            <a:r>
              <a:rPr lang="ru-RU" sz="1200" dirty="0" err="1">
                <a:solidFill>
                  <a:schemeClr val="bg1"/>
                </a:solidFill>
              </a:rPr>
              <a:t>IoT</a:t>
            </a:r>
            <a:r>
              <a:rPr lang="ru-RU" sz="1200" dirty="0">
                <a:solidFill>
                  <a:schemeClr val="bg1"/>
                </a:solidFill>
              </a:rPr>
              <a:t>, а не их замена: </a:t>
            </a:r>
            <a:r>
              <a:rPr lang="ru-RU" sz="1200" b="0" dirty="0">
                <a:solidFill>
                  <a:schemeClr val="bg1"/>
                </a:solidFill>
              </a:rPr>
              <a:t>объекты </a:t>
            </a:r>
            <a:r>
              <a:rPr lang="ru-RU" sz="1200" b="0" dirty="0" err="1">
                <a:solidFill>
                  <a:schemeClr val="bg1"/>
                </a:solidFill>
              </a:rPr>
              <a:t>безразрывно</a:t>
            </a:r>
            <a:r>
              <a:rPr lang="ru-RU" sz="1200" b="0" dirty="0">
                <a:solidFill>
                  <a:schemeClr val="bg1"/>
                </a:solidFill>
              </a:rPr>
              <a:t> подключаются к спутникам и используют их для передачи сообщений только вне зоны действия наземной сети</a:t>
            </a:r>
          </a:p>
          <a:p>
            <a:pPr marL="176213" indent="-176213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Wingdings" panose="05000000000000000000" pitchFamily="2" charset="2"/>
              <a:buChar char="à"/>
            </a:pPr>
            <a:r>
              <a:rPr lang="ru-RU" sz="1200" dirty="0">
                <a:solidFill>
                  <a:schemeClr val="bg1"/>
                </a:solidFill>
              </a:rPr>
              <a:t>Косвенное распространение гибридного обслуживание </a:t>
            </a:r>
            <a:r>
              <a:rPr lang="ru-RU" sz="1200" b="0" dirty="0">
                <a:solidFill>
                  <a:schemeClr val="bg1"/>
                </a:solidFill>
              </a:rPr>
              <a:t>сетевыми операторами и провайдерами решений </a:t>
            </a:r>
            <a:r>
              <a:rPr lang="ru-RU" sz="1200" b="0" dirty="0" err="1">
                <a:solidFill>
                  <a:schemeClr val="bg1"/>
                </a:solidFill>
              </a:rPr>
              <a:t>IoT</a:t>
            </a:r>
            <a:r>
              <a:rPr lang="ru-RU" sz="1200" b="0" dirty="0">
                <a:solidFill>
                  <a:schemeClr val="bg1"/>
                </a:solidFill>
              </a:rPr>
              <a:t>, объединяющими спутниковое и наземное покрытие в свои предложения по подключению</a:t>
            </a:r>
          </a:p>
          <a:p>
            <a:pPr marL="176213" indent="-176213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Wingdings" panose="05000000000000000000" pitchFamily="2" charset="2"/>
              <a:buChar char="à"/>
            </a:pPr>
            <a:r>
              <a:rPr lang="ru-RU" sz="1200" b="0" dirty="0">
                <a:solidFill>
                  <a:schemeClr val="bg1"/>
                </a:solidFill>
              </a:rPr>
              <a:t>Поставлена цель добиться </a:t>
            </a:r>
            <a:r>
              <a:rPr lang="ru-RU" sz="1200" dirty="0">
                <a:solidFill>
                  <a:schemeClr val="bg1"/>
                </a:solidFill>
              </a:rPr>
              <a:t>1-часового повторного соединения </a:t>
            </a:r>
            <a:r>
              <a:rPr lang="ru-RU" sz="1200" b="0" dirty="0">
                <a:solidFill>
                  <a:schemeClr val="bg1"/>
                </a:solidFill>
              </a:rPr>
              <a:t>для сообщений к 2025 г.</a:t>
            </a:r>
          </a:p>
          <a:p>
            <a:pPr marL="176213" indent="-176213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Wingdings" panose="05000000000000000000" pitchFamily="2" charset="2"/>
              <a:buChar char="à"/>
            </a:pPr>
            <a:r>
              <a:rPr lang="ru-RU" sz="1200" dirty="0">
                <a:solidFill>
                  <a:schemeClr val="bg1"/>
                </a:solidFill>
              </a:rPr>
              <a:t>Плата за подключение и количество объектов соответствует рынку </a:t>
            </a:r>
            <a:r>
              <a:rPr lang="ru-RU" sz="1200" dirty="0" err="1">
                <a:solidFill>
                  <a:schemeClr val="bg1"/>
                </a:solidFill>
              </a:rPr>
              <a:t>IoT</a:t>
            </a:r>
            <a:r>
              <a:rPr lang="ru-RU" sz="1200" b="0" dirty="0">
                <a:solidFill>
                  <a:schemeClr val="bg1"/>
                </a:solidFill>
              </a:rPr>
              <a:t>, используются преимущества экономии масштаба за счет наземной связи </a:t>
            </a:r>
          </a:p>
          <a:p>
            <a:pPr marL="176213" indent="-176213"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Wingdings" panose="05000000000000000000" pitchFamily="2" charset="2"/>
              <a:buChar char="à"/>
            </a:pPr>
            <a:r>
              <a:rPr lang="ru-RU" sz="1200" dirty="0">
                <a:solidFill>
                  <a:schemeClr val="bg1"/>
                </a:solidFill>
              </a:rPr>
              <a:t>Сначала – </a:t>
            </a:r>
            <a:r>
              <a:rPr lang="ru-RU" sz="1200" dirty="0" err="1">
                <a:solidFill>
                  <a:schemeClr val="bg1"/>
                </a:solidFill>
              </a:rPr>
              <a:t>Sigfox</a:t>
            </a:r>
            <a:r>
              <a:rPr lang="ru-RU" sz="1200" dirty="0">
                <a:solidFill>
                  <a:schemeClr val="bg1"/>
                </a:solidFill>
              </a:rPr>
              <a:t>, </a:t>
            </a:r>
            <a:r>
              <a:rPr lang="ru-RU" sz="1200" b="0" dirty="0">
                <a:solidFill>
                  <a:schemeClr val="bg1"/>
                </a:solidFill>
              </a:rPr>
              <a:t>однако рассматривается возможность совместимости с </a:t>
            </a:r>
            <a:r>
              <a:rPr lang="ru-RU" sz="1200" b="0" dirty="0" err="1">
                <a:solidFill>
                  <a:schemeClr val="bg1"/>
                </a:solidFill>
              </a:rPr>
              <a:t>LoRa</a:t>
            </a:r>
            <a:r>
              <a:rPr lang="ru-RU" sz="1200" b="0" dirty="0">
                <a:solidFill>
                  <a:schemeClr val="bg1"/>
                </a:solidFill>
              </a:rPr>
              <a:t> и NB-</a:t>
            </a:r>
            <a:r>
              <a:rPr lang="ru-RU" sz="1200" b="0" dirty="0" err="1">
                <a:solidFill>
                  <a:schemeClr val="bg1"/>
                </a:solidFill>
              </a:rPr>
              <a:t>IoT</a:t>
            </a:r>
            <a:r>
              <a:rPr lang="ru-RU" sz="1200" b="0" dirty="0">
                <a:solidFill>
                  <a:schemeClr val="bg1"/>
                </a:solidFill>
              </a:rPr>
              <a:t> / LTE-M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29AEE35-0C8B-4450-9007-3F0AFB3EC760}"/>
              </a:ext>
            </a:extLst>
          </p:cNvPr>
          <p:cNvGrpSpPr/>
          <p:nvPr/>
        </p:nvGrpSpPr>
        <p:grpSpPr>
          <a:xfrm>
            <a:off x="241300" y="1894717"/>
            <a:ext cx="7219881" cy="3464683"/>
            <a:chOff x="241300" y="1894717"/>
            <a:chExt cx="7219881" cy="3464683"/>
          </a:xfrm>
        </p:grpSpPr>
        <p:grpSp>
          <p:nvGrpSpPr>
            <p:cNvPr id="10" name="Graphic 8">
              <a:extLst>
                <a:ext uri="{FF2B5EF4-FFF2-40B4-BE49-F238E27FC236}">
                  <a16:creationId xmlns:a16="http://schemas.microsoft.com/office/drawing/2014/main" id="{2469E764-5B95-4A61-9B79-4E41326F6810}"/>
                </a:ext>
              </a:extLst>
            </p:cNvPr>
            <p:cNvGrpSpPr/>
            <p:nvPr/>
          </p:nvGrpSpPr>
          <p:grpSpPr>
            <a:xfrm>
              <a:off x="5896241" y="4023339"/>
              <a:ext cx="530135" cy="530135"/>
              <a:chOff x="4016932" y="-2542612"/>
              <a:chExt cx="4876800" cy="4876800"/>
            </a:xfrm>
            <a:solidFill>
              <a:schemeClr val="tx2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4138450D-0FA1-483D-A642-8A9495A10CD0}"/>
                  </a:ext>
                </a:extLst>
              </p:cNvPr>
              <p:cNvSpPr/>
              <p:nvPr/>
            </p:nvSpPr>
            <p:spPr>
              <a:xfrm>
                <a:off x="7083483" y="-123750"/>
                <a:ext cx="805969" cy="570081"/>
              </a:xfrm>
              <a:custGeom>
                <a:avLst/>
                <a:gdLst>
                  <a:gd name="connsiteX0" fmla="*/ 761079 w 805969"/>
                  <a:gd name="connsiteY0" fmla="*/ 394023 h 570081"/>
                  <a:gd name="connsiteX1" fmla="*/ 145002 w 805969"/>
                  <a:gd name="connsiteY1" fmla="*/ 13881 h 570081"/>
                  <a:gd name="connsiteX2" fmla="*/ 13843 w 805969"/>
                  <a:gd name="connsiteY2" fmla="*/ 44923 h 570081"/>
                  <a:gd name="connsiteX3" fmla="*/ 44895 w 805969"/>
                  <a:gd name="connsiteY3" fmla="*/ 175986 h 570081"/>
                  <a:gd name="connsiteX4" fmla="*/ 660972 w 805969"/>
                  <a:gd name="connsiteY4" fmla="*/ 556129 h 570081"/>
                  <a:gd name="connsiteX5" fmla="*/ 792036 w 805969"/>
                  <a:gd name="connsiteY5" fmla="*/ 525087 h 570081"/>
                  <a:gd name="connsiteX6" fmla="*/ 761079 w 805969"/>
                  <a:gd name="connsiteY6" fmla="*/ 394023 h 570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05969" h="570081">
                    <a:moveTo>
                      <a:pt x="761079" y="394023"/>
                    </a:moveTo>
                    <a:cubicBezTo>
                      <a:pt x="761079" y="394023"/>
                      <a:pt x="145774" y="14357"/>
                      <a:pt x="145002" y="13881"/>
                    </a:cubicBezTo>
                    <a:cubicBezTo>
                      <a:pt x="100721" y="-13447"/>
                      <a:pt x="41084" y="965"/>
                      <a:pt x="13843" y="44923"/>
                    </a:cubicBezTo>
                    <a:cubicBezTo>
                      <a:pt x="-13456" y="88976"/>
                      <a:pt x="1032" y="148945"/>
                      <a:pt x="44895" y="175986"/>
                    </a:cubicBezTo>
                    <a:cubicBezTo>
                      <a:pt x="44895" y="175986"/>
                      <a:pt x="660590" y="555901"/>
                      <a:pt x="660972" y="556129"/>
                    </a:cubicBezTo>
                    <a:cubicBezTo>
                      <a:pt x="705234" y="583437"/>
                      <a:pt x="764822" y="569388"/>
                      <a:pt x="792036" y="525087"/>
                    </a:cubicBezTo>
                    <a:cubicBezTo>
                      <a:pt x="819249" y="480777"/>
                      <a:pt x="805380" y="421332"/>
                      <a:pt x="761079" y="39402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5A3D0F4E-FA25-432F-B2FC-3BE11EDBB0F6}"/>
                  </a:ext>
                </a:extLst>
              </p:cNvPr>
              <p:cNvSpPr/>
              <p:nvPr/>
            </p:nvSpPr>
            <p:spPr>
              <a:xfrm>
                <a:off x="6758963" y="-324096"/>
                <a:ext cx="189307" cy="190500"/>
              </a:xfrm>
              <a:custGeom>
                <a:avLst/>
                <a:gdLst>
                  <a:gd name="connsiteX0" fmla="*/ 95304 w 189307"/>
                  <a:gd name="connsiteY0" fmla="*/ 0 h 190500"/>
                  <a:gd name="connsiteX1" fmla="*/ 2502 w 189307"/>
                  <a:gd name="connsiteY1" fmla="*/ 117110 h 190500"/>
                  <a:gd name="connsiteX2" fmla="*/ 45603 w 189307"/>
                  <a:gd name="connsiteY2" fmla="*/ 175641 h 190500"/>
                  <a:gd name="connsiteX3" fmla="*/ 95094 w 189307"/>
                  <a:gd name="connsiteY3" fmla="*/ 190500 h 190500"/>
                  <a:gd name="connsiteX4" fmla="*/ 176238 w 189307"/>
                  <a:gd name="connsiteY4" fmla="*/ 145275 h 190500"/>
                  <a:gd name="connsiteX5" fmla="*/ 95304 w 189307"/>
                  <a:gd name="connsiteY5" fmla="*/ 0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9307" h="190500">
                    <a:moveTo>
                      <a:pt x="95304" y="0"/>
                    </a:moveTo>
                    <a:cubicBezTo>
                      <a:pt x="34468" y="-9"/>
                      <a:pt x="-11405" y="57903"/>
                      <a:pt x="2502" y="117110"/>
                    </a:cubicBezTo>
                    <a:cubicBezTo>
                      <a:pt x="8036" y="140694"/>
                      <a:pt x="24247" y="162116"/>
                      <a:pt x="45603" y="175641"/>
                    </a:cubicBezTo>
                    <a:cubicBezTo>
                      <a:pt x="60262" y="184928"/>
                      <a:pt x="77349" y="190500"/>
                      <a:pt x="95094" y="190500"/>
                    </a:cubicBezTo>
                    <a:cubicBezTo>
                      <a:pt x="128422" y="190500"/>
                      <a:pt x="158807" y="173650"/>
                      <a:pt x="176238" y="145275"/>
                    </a:cubicBezTo>
                    <a:cubicBezTo>
                      <a:pt x="213366" y="84830"/>
                      <a:pt x="166694" y="10"/>
                      <a:pt x="95304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050A7FD9-B7E0-45FF-98EF-9C73118DE870}"/>
                  </a:ext>
                </a:extLst>
              </p:cNvPr>
              <p:cNvSpPr/>
              <p:nvPr/>
            </p:nvSpPr>
            <p:spPr>
              <a:xfrm>
                <a:off x="5080024" y="-127265"/>
                <a:ext cx="802352" cy="574135"/>
              </a:xfrm>
              <a:custGeom>
                <a:avLst/>
                <a:gdLst>
                  <a:gd name="connsiteX0" fmla="*/ 787930 w 802352"/>
                  <a:gd name="connsiteY0" fmla="*/ 43514 h 574135"/>
                  <a:gd name="connsiteX1" fmla="*/ 656561 w 802352"/>
                  <a:gd name="connsiteY1" fmla="*/ 13767 h 574135"/>
                  <a:gd name="connsiteX2" fmla="*/ 44199 w 802352"/>
                  <a:gd name="connsiteY2" fmla="*/ 399910 h 574135"/>
                  <a:gd name="connsiteX3" fmla="*/ 14452 w 802352"/>
                  <a:gd name="connsiteY3" fmla="*/ 531213 h 574135"/>
                  <a:gd name="connsiteX4" fmla="*/ 95176 w 802352"/>
                  <a:gd name="connsiteY4" fmla="*/ 574094 h 574135"/>
                  <a:gd name="connsiteX5" fmla="*/ 145830 w 802352"/>
                  <a:gd name="connsiteY5" fmla="*/ 561073 h 574135"/>
                  <a:gd name="connsiteX6" fmla="*/ 758193 w 802352"/>
                  <a:gd name="connsiteY6" fmla="*/ 174835 h 574135"/>
                  <a:gd name="connsiteX7" fmla="*/ 787930 w 802352"/>
                  <a:gd name="connsiteY7" fmla="*/ 43514 h 574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2352" h="574135">
                    <a:moveTo>
                      <a:pt x="787930" y="43514"/>
                    </a:moveTo>
                    <a:cubicBezTo>
                      <a:pt x="761060" y="718"/>
                      <a:pt x="699109" y="-13113"/>
                      <a:pt x="656561" y="13767"/>
                    </a:cubicBezTo>
                    <a:cubicBezTo>
                      <a:pt x="656561" y="13767"/>
                      <a:pt x="45227" y="399263"/>
                      <a:pt x="44199" y="399910"/>
                    </a:cubicBezTo>
                    <a:cubicBezTo>
                      <a:pt x="145" y="427685"/>
                      <a:pt x="-13294" y="487198"/>
                      <a:pt x="14452" y="531213"/>
                    </a:cubicBezTo>
                    <a:cubicBezTo>
                      <a:pt x="31130" y="557682"/>
                      <a:pt x="63315" y="573199"/>
                      <a:pt x="95176" y="574094"/>
                    </a:cubicBezTo>
                    <a:cubicBezTo>
                      <a:pt x="113102" y="574599"/>
                      <a:pt x="130924" y="570474"/>
                      <a:pt x="145830" y="561073"/>
                    </a:cubicBezTo>
                    <a:cubicBezTo>
                      <a:pt x="145830" y="561073"/>
                      <a:pt x="757764" y="175111"/>
                      <a:pt x="758193" y="174835"/>
                    </a:cubicBezTo>
                    <a:cubicBezTo>
                      <a:pt x="802236" y="147060"/>
                      <a:pt x="815609" y="87595"/>
                      <a:pt x="787930" y="43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E162276E-897C-433A-B11B-A21099D7B96B}"/>
                  </a:ext>
                </a:extLst>
              </p:cNvPr>
              <p:cNvSpPr/>
              <p:nvPr/>
            </p:nvSpPr>
            <p:spPr>
              <a:xfrm>
                <a:off x="6014419" y="-331430"/>
                <a:ext cx="190445" cy="190500"/>
              </a:xfrm>
              <a:custGeom>
                <a:avLst/>
                <a:gdLst>
                  <a:gd name="connsiteX0" fmla="*/ 95069 w 190445"/>
                  <a:gd name="connsiteY0" fmla="*/ 0 h 190500"/>
                  <a:gd name="connsiteX1" fmla="*/ 2296 w 190445"/>
                  <a:gd name="connsiteY1" fmla="*/ 74181 h 190500"/>
                  <a:gd name="connsiteX2" fmla="*/ 95260 w 190445"/>
                  <a:gd name="connsiteY2" fmla="*/ 190500 h 190500"/>
                  <a:gd name="connsiteX3" fmla="*/ 188129 w 190445"/>
                  <a:gd name="connsiteY3" fmla="*/ 116291 h 190500"/>
                  <a:gd name="connsiteX4" fmla="*/ 95069 w 190445"/>
                  <a:gd name="connsiteY4" fmla="*/ 0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445" h="190500">
                    <a:moveTo>
                      <a:pt x="95069" y="0"/>
                    </a:moveTo>
                    <a:cubicBezTo>
                      <a:pt x="50835" y="0"/>
                      <a:pt x="12078" y="31090"/>
                      <a:pt x="2296" y="74181"/>
                    </a:cubicBezTo>
                    <a:cubicBezTo>
                      <a:pt x="-11030" y="132883"/>
                      <a:pt x="35443" y="190500"/>
                      <a:pt x="95260" y="190500"/>
                    </a:cubicBezTo>
                    <a:cubicBezTo>
                      <a:pt x="139408" y="190500"/>
                      <a:pt x="178385" y="159420"/>
                      <a:pt x="188129" y="116291"/>
                    </a:cubicBezTo>
                    <a:cubicBezTo>
                      <a:pt x="201473" y="57236"/>
                      <a:pt x="155429" y="0"/>
                      <a:pt x="95069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94E6AD2A-C43B-4EE8-9B68-FD5E09E32A3B}"/>
                  </a:ext>
                </a:extLst>
              </p:cNvPr>
              <p:cNvSpPr/>
              <p:nvPr/>
            </p:nvSpPr>
            <p:spPr>
              <a:xfrm>
                <a:off x="4016936" y="-2542373"/>
                <a:ext cx="4876809" cy="4876338"/>
              </a:xfrm>
              <a:custGeom>
                <a:avLst/>
                <a:gdLst>
                  <a:gd name="connsiteX0" fmla="*/ 4853440 w 4876809"/>
                  <a:gd name="connsiteY0" fmla="*/ 4338057 h 4876338"/>
                  <a:gd name="connsiteX1" fmla="*/ 4719062 w 4876809"/>
                  <a:gd name="connsiteY1" fmla="*/ 4328684 h 4876338"/>
                  <a:gd name="connsiteX2" fmla="*/ 4390240 w 4876809"/>
                  <a:gd name="connsiteY2" fmla="*/ 4545378 h 4876338"/>
                  <a:gd name="connsiteX3" fmla="*/ 3967234 w 4876809"/>
                  <a:gd name="connsiteY3" fmla="*/ 4486970 h 4876338"/>
                  <a:gd name="connsiteX4" fmla="*/ 4463287 w 4876809"/>
                  <a:gd name="connsiteY4" fmla="*/ 2817962 h 4876338"/>
                  <a:gd name="connsiteX5" fmla="*/ 4421348 w 4876809"/>
                  <a:gd name="connsiteY5" fmla="*/ 2709367 h 4876338"/>
                  <a:gd name="connsiteX6" fmla="*/ 3962405 w 4876809"/>
                  <a:gd name="connsiteY6" fmla="*/ 2431285 h 4876338"/>
                  <a:gd name="connsiteX7" fmla="*/ 3962405 w 4876809"/>
                  <a:gd name="connsiteY7" fmla="*/ 1619250 h 4876338"/>
                  <a:gd name="connsiteX8" fmla="*/ 3867155 w 4876809"/>
                  <a:gd name="connsiteY8" fmla="*/ 1524000 h 4876338"/>
                  <a:gd name="connsiteX9" fmla="*/ 3676655 w 4876809"/>
                  <a:gd name="connsiteY9" fmla="*/ 1524000 h 4876338"/>
                  <a:gd name="connsiteX10" fmla="*/ 3676655 w 4876809"/>
                  <a:gd name="connsiteY10" fmla="*/ 1238250 h 4876338"/>
                  <a:gd name="connsiteX11" fmla="*/ 3581405 w 4876809"/>
                  <a:gd name="connsiteY11" fmla="*/ 1143000 h 4876338"/>
                  <a:gd name="connsiteX12" fmla="*/ 3281368 w 4876809"/>
                  <a:gd name="connsiteY12" fmla="*/ 1143000 h 4876338"/>
                  <a:gd name="connsiteX13" fmla="*/ 3281368 w 4876809"/>
                  <a:gd name="connsiteY13" fmla="*/ 857250 h 4876338"/>
                  <a:gd name="connsiteX14" fmla="*/ 3186118 w 4876809"/>
                  <a:gd name="connsiteY14" fmla="*/ 762000 h 4876338"/>
                  <a:gd name="connsiteX15" fmla="*/ 2724155 w 4876809"/>
                  <a:gd name="connsiteY15" fmla="*/ 762000 h 4876338"/>
                  <a:gd name="connsiteX16" fmla="*/ 2724155 w 4876809"/>
                  <a:gd name="connsiteY16" fmla="*/ 95250 h 4876338"/>
                  <a:gd name="connsiteX17" fmla="*/ 2628905 w 4876809"/>
                  <a:gd name="connsiteY17" fmla="*/ 0 h 4876338"/>
                  <a:gd name="connsiteX18" fmla="*/ 2247905 w 4876809"/>
                  <a:gd name="connsiteY18" fmla="*/ 0 h 4876338"/>
                  <a:gd name="connsiteX19" fmla="*/ 2152655 w 4876809"/>
                  <a:gd name="connsiteY19" fmla="*/ 95250 h 4876338"/>
                  <a:gd name="connsiteX20" fmla="*/ 2152655 w 4876809"/>
                  <a:gd name="connsiteY20" fmla="*/ 762000 h 4876338"/>
                  <a:gd name="connsiteX21" fmla="*/ 1690693 w 4876809"/>
                  <a:gd name="connsiteY21" fmla="*/ 762000 h 4876338"/>
                  <a:gd name="connsiteX22" fmla="*/ 1595443 w 4876809"/>
                  <a:gd name="connsiteY22" fmla="*/ 857250 h 4876338"/>
                  <a:gd name="connsiteX23" fmla="*/ 1595443 w 4876809"/>
                  <a:gd name="connsiteY23" fmla="*/ 1143000 h 4876338"/>
                  <a:gd name="connsiteX24" fmla="*/ 1295405 w 4876809"/>
                  <a:gd name="connsiteY24" fmla="*/ 1143000 h 4876338"/>
                  <a:gd name="connsiteX25" fmla="*/ 1200155 w 4876809"/>
                  <a:gd name="connsiteY25" fmla="*/ 1238250 h 4876338"/>
                  <a:gd name="connsiteX26" fmla="*/ 1200155 w 4876809"/>
                  <a:gd name="connsiteY26" fmla="*/ 1524000 h 4876338"/>
                  <a:gd name="connsiteX27" fmla="*/ 1009655 w 4876809"/>
                  <a:gd name="connsiteY27" fmla="*/ 1524000 h 4876338"/>
                  <a:gd name="connsiteX28" fmla="*/ 914405 w 4876809"/>
                  <a:gd name="connsiteY28" fmla="*/ 1619250 h 4876338"/>
                  <a:gd name="connsiteX29" fmla="*/ 914405 w 4876809"/>
                  <a:gd name="connsiteY29" fmla="*/ 2431285 h 4876338"/>
                  <a:gd name="connsiteX30" fmla="*/ 455471 w 4876809"/>
                  <a:gd name="connsiteY30" fmla="*/ 2709358 h 4876338"/>
                  <a:gd name="connsiteX31" fmla="*/ 413533 w 4876809"/>
                  <a:gd name="connsiteY31" fmla="*/ 2817952 h 4876338"/>
                  <a:gd name="connsiteX32" fmla="*/ 908576 w 4876809"/>
                  <a:gd name="connsiteY32" fmla="*/ 4483551 h 4876338"/>
                  <a:gd name="connsiteX33" fmla="*/ 720762 w 4876809"/>
                  <a:gd name="connsiteY33" fmla="*/ 4432926 h 4876338"/>
                  <a:gd name="connsiteX34" fmla="*/ 32752 w 4876809"/>
                  <a:gd name="connsiteY34" fmla="*/ 4709675 h 4876338"/>
                  <a:gd name="connsiteX35" fmla="*/ 23370 w 4876809"/>
                  <a:gd name="connsiteY35" fmla="*/ 4844044 h 4876338"/>
                  <a:gd name="connsiteX36" fmla="*/ 157739 w 4876809"/>
                  <a:gd name="connsiteY36" fmla="*/ 4853426 h 4876338"/>
                  <a:gd name="connsiteX37" fmla="*/ 867914 w 4876809"/>
                  <a:gd name="connsiteY37" fmla="*/ 4674299 h 4876338"/>
                  <a:gd name="connsiteX38" fmla="*/ 1625866 w 4876809"/>
                  <a:gd name="connsiteY38" fmla="*/ 4715256 h 4876338"/>
                  <a:gd name="connsiteX39" fmla="*/ 2263374 w 4876809"/>
                  <a:gd name="connsiteY39" fmla="*/ 4622264 h 4876338"/>
                  <a:gd name="connsiteX40" fmla="*/ 2500803 w 4876809"/>
                  <a:gd name="connsiteY40" fmla="*/ 4735325 h 4876338"/>
                  <a:gd name="connsiteX41" fmla="*/ 3137064 w 4876809"/>
                  <a:gd name="connsiteY41" fmla="*/ 4729210 h 4876338"/>
                  <a:gd name="connsiteX42" fmla="*/ 3528722 w 4876809"/>
                  <a:gd name="connsiteY42" fmla="*/ 4574972 h 4876338"/>
                  <a:gd name="connsiteX43" fmla="*/ 3923696 w 4876809"/>
                  <a:gd name="connsiteY43" fmla="*/ 4678175 h 4876338"/>
                  <a:gd name="connsiteX44" fmla="*/ 4446561 w 4876809"/>
                  <a:gd name="connsiteY44" fmla="*/ 4725524 h 4876338"/>
                  <a:gd name="connsiteX45" fmla="*/ 4844049 w 4876809"/>
                  <a:gd name="connsiteY45" fmla="*/ 4472416 h 4876338"/>
                  <a:gd name="connsiteX46" fmla="*/ 4853440 w 4876809"/>
                  <a:gd name="connsiteY46" fmla="*/ 4338057 h 4876338"/>
                  <a:gd name="connsiteX47" fmla="*/ 3771905 w 4876809"/>
                  <a:gd name="connsiteY47" fmla="*/ 1714500 h 4876338"/>
                  <a:gd name="connsiteX48" fmla="*/ 3771905 w 4876809"/>
                  <a:gd name="connsiteY48" fmla="*/ 2315861 h 4876338"/>
                  <a:gd name="connsiteX49" fmla="*/ 2779419 w 4876809"/>
                  <a:gd name="connsiteY49" fmla="*/ 1714500 h 4876338"/>
                  <a:gd name="connsiteX50" fmla="*/ 3771905 w 4876809"/>
                  <a:gd name="connsiteY50" fmla="*/ 1714500 h 4876338"/>
                  <a:gd name="connsiteX51" fmla="*/ 2343155 w 4876809"/>
                  <a:gd name="connsiteY51" fmla="*/ 190500 h 4876338"/>
                  <a:gd name="connsiteX52" fmla="*/ 2533655 w 4876809"/>
                  <a:gd name="connsiteY52" fmla="*/ 190500 h 4876338"/>
                  <a:gd name="connsiteX53" fmla="*/ 2533655 w 4876809"/>
                  <a:gd name="connsiteY53" fmla="*/ 762000 h 4876338"/>
                  <a:gd name="connsiteX54" fmla="*/ 2343155 w 4876809"/>
                  <a:gd name="connsiteY54" fmla="*/ 762000 h 4876338"/>
                  <a:gd name="connsiteX55" fmla="*/ 2343155 w 4876809"/>
                  <a:gd name="connsiteY55" fmla="*/ 190500 h 4876338"/>
                  <a:gd name="connsiteX56" fmla="*/ 1785943 w 4876809"/>
                  <a:gd name="connsiteY56" fmla="*/ 952500 h 4876338"/>
                  <a:gd name="connsiteX57" fmla="*/ 3090868 w 4876809"/>
                  <a:gd name="connsiteY57" fmla="*/ 952500 h 4876338"/>
                  <a:gd name="connsiteX58" fmla="*/ 3090868 w 4876809"/>
                  <a:gd name="connsiteY58" fmla="*/ 1143000 h 4876338"/>
                  <a:gd name="connsiteX59" fmla="*/ 1785943 w 4876809"/>
                  <a:gd name="connsiteY59" fmla="*/ 1143000 h 4876338"/>
                  <a:gd name="connsiteX60" fmla="*/ 1785943 w 4876809"/>
                  <a:gd name="connsiteY60" fmla="*/ 952500 h 4876338"/>
                  <a:gd name="connsiteX61" fmla="*/ 1104905 w 4876809"/>
                  <a:gd name="connsiteY61" fmla="*/ 1714500 h 4876338"/>
                  <a:gd name="connsiteX62" fmla="*/ 2097391 w 4876809"/>
                  <a:gd name="connsiteY62" fmla="*/ 1714500 h 4876338"/>
                  <a:gd name="connsiteX63" fmla="*/ 1104905 w 4876809"/>
                  <a:gd name="connsiteY63" fmla="*/ 2315861 h 4876338"/>
                  <a:gd name="connsiteX64" fmla="*/ 1104905 w 4876809"/>
                  <a:gd name="connsiteY64" fmla="*/ 1714500 h 4876338"/>
                  <a:gd name="connsiteX65" fmla="*/ 2343155 w 4876809"/>
                  <a:gd name="connsiteY65" fmla="*/ 4449271 h 4876338"/>
                  <a:gd name="connsiteX66" fmla="*/ 2189612 w 4876809"/>
                  <a:gd name="connsiteY66" fmla="*/ 4397274 h 4876338"/>
                  <a:gd name="connsiteX67" fmla="*/ 1695588 w 4876809"/>
                  <a:gd name="connsiteY67" fmla="*/ 4463282 h 4876338"/>
                  <a:gd name="connsiteX68" fmla="*/ 1356632 w 4876809"/>
                  <a:gd name="connsiteY68" fmla="*/ 4603681 h 4876338"/>
                  <a:gd name="connsiteX69" fmla="*/ 1355946 w 4876809"/>
                  <a:gd name="connsiteY69" fmla="*/ 4603766 h 4876338"/>
                  <a:gd name="connsiteX70" fmla="*/ 1137976 w 4876809"/>
                  <a:gd name="connsiteY70" fmla="*/ 4586697 h 4876338"/>
                  <a:gd name="connsiteX71" fmla="*/ 617082 w 4876809"/>
                  <a:gd name="connsiteY71" fmla="*/ 2834183 h 4876338"/>
                  <a:gd name="connsiteX72" fmla="*/ 2343155 w 4876809"/>
                  <a:gd name="connsiteY72" fmla="*/ 1788338 h 4876338"/>
                  <a:gd name="connsiteX73" fmla="*/ 2343155 w 4876809"/>
                  <a:gd name="connsiteY73" fmla="*/ 4449271 h 4876338"/>
                  <a:gd name="connsiteX74" fmla="*/ 1390655 w 4876809"/>
                  <a:gd name="connsiteY74" fmla="*/ 1524000 h 4876338"/>
                  <a:gd name="connsiteX75" fmla="*/ 1390655 w 4876809"/>
                  <a:gd name="connsiteY75" fmla="*/ 1333500 h 4876338"/>
                  <a:gd name="connsiteX76" fmla="*/ 3486155 w 4876809"/>
                  <a:gd name="connsiteY76" fmla="*/ 1333500 h 4876338"/>
                  <a:gd name="connsiteX77" fmla="*/ 3486155 w 4876809"/>
                  <a:gd name="connsiteY77" fmla="*/ 1524000 h 4876338"/>
                  <a:gd name="connsiteX78" fmla="*/ 1390655 w 4876809"/>
                  <a:gd name="connsiteY78" fmla="*/ 1524000 h 4876338"/>
                  <a:gd name="connsiteX79" fmla="*/ 3791165 w 4876809"/>
                  <a:gd name="connsiteY79" fmla="*/ 4410637 h 4876338"/>
                  <a:gd name="connsiteX80" fmla="*/ 3506129 w 4876809"/>
                  <a:gd name="connsiteY80" fmla="*/ 4383329 h 4876338"/>
                  <a:gd name="connsiteX81" fmla="*/ 3051863 w 4876809"/>
                  <a:gd name="connsiteY81" fmla="*/ 4558837 h 4876338"/>
                  <a:gd name="connsiteX82" fmla="*/ 2533655 w 4876809"/>
                  <a:gd name="connsiteY82" fmla="*/ 4539977 h 4876338"/>
                  <a:gd name="connsiteX83" fmla="*/ 2533655 w 4876809"/>
                  <a:gd name="connsiteY83" fmla="*/ 1788338 h 4876338"/>
                  <a:gd name="connsiteX84" fmla="*/ 4259728 w 4876809"/>
                  <a:gd name="connsiteY84" fmla="*/ 2834183 h 4876338"/>
                  <a:gd name="connsiteX85" fmla="*/ 3791165 w 4876809"/>
                  <a:gd name="connsiteY85" fmla="*/ 4410637 h 4876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4876809" h="4876338">
                    <a:moveTo>
                      <a:pt x="4853440" y="4338057"/>
                    </a:moveTo>
                    <a:cubicBezTo>
                      <a:pt x="4818922" y="4298356"/>
                      <a:pt x="4758762" y="4294165"/>
                      <a:pt x="4719062" y="4328684"/>
                    </a:cubicBezTo>
                    <a:cubicBezTo>
                      <a:pt x="4617497" y="4416990"/>
                      <a:pt x="4523504" y="4508545"/>
                      <a:pt x="4390240" y="4545378"/>
                    </a:cubicBezTo>
                    <a:cubicBezTo>
                      <a:pt x="4242097" y="4586316"/>
                      <a:pt x="4101308" y="4554007"/>
                      <a:pt x="3967234" y="4486970"/>
                    </a:cubicBezTo>
                    <a:lnTo>
                      <a:pt x="4463287" y="2817962"/>
                    </a:lnTo>
                    <a:cubicBezTo>
                      <a:pt x="4475631" y="2776443"/>
                      <a:pt x="4458391" y="2731818"/>
                      <a:pt x="4421348" y="2709367"/>
                    </a:cubicBezTo>
                    <a:lnTo>
                      <a:pt x="3962405" y="2431285"/>
                    </a:lnTo>
                    <a:lnTo>
                      <a:pt x="3962405" y="1619250"/>
                    </a:lnTo>
                    <a:cubicBezTo>
                      <a:pt x="3962405" y="1566653"/>
                      <a:pt x="3919762" y="1524000"/>
                      <a:pt x="3867155" y="1524000"/>
                    </a:cubicBezTo>
                    <a:lnTo>
                      <a:pt x="3676655" y="1524000"/>
                    </a:lnTo>
                    <a:lnTo>
                      <a:pt x="3676655" y="1238250"/>
                    </a:lnTo>
                    <a:cubicBezTo>
                      <a:pt x="3676655" y="1185653"/>
                      <a:pt x="3634012" y="1143000"/>
                      <a:pt x="3581405" y="1143000"/>
                    </a:cubicBezTo>
                    <a:lnTo>
                      <a:pt x="3281368" y="1143000"/>
                    </a:lnTo>
                    <a:lnTo>
                      <a:pt x="3281368" y="857250"/>
                    </a:lnTo>
                    <a:cubicBezTo>
                      <a:pt x="3281368" y="804653"/>
                      <a:pt x="3238724" y="762000"/>
                      <a:pt x="3186118" y="762000"/>
                    </a:cubicBezTo>
                    <a:lnTo>
                      <a:pt x="2724155" y="762000"/>
                    </a:lnTo>
                    <a:lnTo>
                      <a:pt x="2724155" y="95250"/>
                    </a:lnTo>
                    <a:cubicBezTo>
                      <a:pt x="2724155" y="42653"/>
                      <a:pt x="2681512" y="0"/>
                      <a:pt x="2628905" y="0"/>
                    </a:cubicBezTo>
                    <a:lnTo>
                      <a:pt x="2247905" y="0"/>
                    </a:lnTo>
                    <a:cubicBezTo>
                      <a:pt x="2195299" y="0"/>
                      <a:pt x="2152655" y="42653"/>
                      <a:pt x="2152655" y="95250"/>
                    </a:cubicBezTo>
                    <a:lnTo>
                      <a:pt x="2152655" y="762000"/>
                    </a:lnTo>
                    <a:lnTo>
                      <a:pt x="1690693" y="762000"/>
                    </a:lnTo>
                    <a:cubicBezTo>
                      <a:pt x="1638086" y="762000"/>
                      <a:pt x="1595443" y="804653"/>
                      <a:pt x="1595443" y="857250"/>
                    </a:cubicBezTo>
                    <a:lnTo>
                      <a:pt x="1595443" y="1143000"/>
                    </a:lnTo>
                    <a:lnTo>
                      <a:pt x="1295405" y="1143000"/>
                    </a:lnTo>
                    <a:cubicBezTo>
                      <a:pt x="1242798" y="1143000"/>
                      <a:pt x="1200155" y="1185653"/>
                      <a:pt x="1200155" y="1238250"/>
                    </a:cubicBezTo>
                    <a:lnTo>
                      <a:pt x="1200155" y="1524000"/>
                    </a:lnTo>
                    <a:lnTo>
                      <a:pt x="1009655" y="1524000"/>
                    </a:lnTo>
                    <a:cubicBezTo>
                      <a:pt x="957048" y="1524000"/>
                      <a:pt x="914405" y="1566653"/>
                      <a:pt x="914405" y="1619250"/>
                    </a:cubicBezTo>
                    <a:lnTo>
                      <a:pt x="914405" y="2431285"/>
                    </a:lnTo>
                    <a:lnTo>
                      <a:pt x="455471" y="2709358"/>
                    </a:lnTo>
                    <a:cubicBezTo>
                      <a:pt x="418419" y="2731808"/>
                      <a:pt x="401189" y="2776433"/>
                      <a:pt x="413533" y="2817952"/>
                    </a:cubicBezTo>
                    <a:cubicBezTo>
                      <a:pt x="413533" y="2817952"/>
                      <a:pt x="908366" y="4482827"/>
                      <a:pt x="908576" y="4483551"/>
                    </a:cubicBezTo>
                    <a:cubicBezTo>
                      <a:pt x="900127" y="4455129"/>
                      <a:pt x="747708" y="4436412"/>
                      <a:pt x="720762" y="4432926"/>
                    </a:cubicBezTo>
                    <a:cubicBezTo>
                      <a:pt x="443422" y="4397036"/>
                      <a:pt x="232529" y="4535967"/>
                      <a:pt x="32752" y="4709675"/>
                    </a:cubicBezTo>
                    <a:cubicBezTo>
                      <a:pt x="-6948" y="4744193"/>
                      <a:pt x="-11139" y="4804344"/>
                      <a:pt x="23370" y="4844044"/>
                    </a:cubicBezTo>
                    <a:cubicBezTo>
                      <a:pt x="56317" y="4881934"/>
                      <a:pt x="117629" y="4888297"/>
                      <a:pt x="157739" y="4853426"/>
                    </a:cubicBezTo>
                    <a:cubicBezTo>
                      <a:pt x="363555" y="4674508"/>
                      <a:pt x="595594" y="4538120"/>
                      <a:pt x="867914" y="4674299"/>
                    </a:cubicBezTo>
                    <a:cubicBezTo>
                      <a:pt x="1114268" y="4797467"/>
                      <a:pt x="1369271" y="4850283"/>
                      <a:pt x="1625866" y="4715256"/>
                    </a:cubicBezTo>
                    <a:cubicBezTo>
                      <a:pt x="1832768" y="4606348"/>
                      <a:pt x="2032431" y="4512307"/>
                      <a:pt x="2263374" y="4622264"/>
                    </a:cubicBezTo>
                    <a:lnTo>
                      <a:pt x="2500803" y="4735325"/>
                    </a:lnTo>
                    <a:cubicBezTo>
                      <a:pt x="2703933" y="4832061"/>
                      <a:pt x="2935848" y="4829832"/>
                      <a:pt x="3137064" y="4729210"/>
                    </a:cubicBezTo>
                    <a:cubicBezTo>
                      <a:pt x="3261060" y="4667212"/>
                      <a:pt x="3387086" y="4584707"/>
                      <a:pt x="3528722" y="4574972"/>
                    </a:cubicBezTo>
                    <a:cubicBezTo>
                      <a:pt x="3667559" y="4565438"/>
                      <a:pt x="3801709" y="4617130"/>
                      <a:pt x="3923696" y="4678175"/>
                    </a:cubicBezTo>
                    <a:cubicBezTo>
                      <a:pt x="4084849" y="4758757"/>
                      <a:pt x="4273511" y="4774854"/>
                      <a:pt x="4446561" y="4725524"/>
                    </a:cubicBezTo>
                    <a:cubicBezTo>
                      <a:pt x="4605962" y="4680081"/>
                      <a:pt x="4721967" y="4578563"/>
                      <a:pt x="4844049" y="4472416"/>
                    </a:cubicBezTo>
                    <a:cubicBezTo>
                      <a:pt x="4883759" y="4437907"/>
                      <a:pt x="4887950" y="4377757"/>
                      <a:pt x="4853440" y="4338057"/>
                    </a:cubicBezTo>
                    <a:close/>
                    <a:moveTo>
                      <a:pt x="3771905" y="1714500"/>
                    </a:moveTo>
                    <a:lnTo>
                      <a:pt x="3771905" y="2315861"/>
                    </a:lnTo>
                    <a:lnTo>
                      <a:pt x="2779419" y="1714500"/>
                    </a:lnTo>
                    <a:lnTo>
                      <a:pt x="3771905" y="1714500"/>
                    </a:lnTo>
                    <a:close/>
                    <a:moveTo>
                      <a:pt x="2343155" y="190500"/>
                    </a:moveTo>
                    <a:lnTo>
                      <a:pt x="2533655" y="190500"/>
                    </a:lnTo>
                    <a:lnTo>
                      <a:pt x="2533655" y="762000"/>
                    </a:lnTo>
                    <a:lnTo>
                      <a:pt x="2343155" y="762000"/>
                    </a:lnTo>
                    <a:lnTo>
                      <a:pt x="2343155" y="190500"/>
                    </a:lnTo>
                    <a:close/>
                    <a:moveTo>
                      <a:pt x="1785943" y="952500"/>
                    </a:moveTo>
                    <a:lnTo>
                      <a:pt x="3090868" y="952500"/>
                    </a:lnTo>
                    <a:lnTo>
                      <a:pt x="3090868" y="1143000"/>
                    </a:lnTo>
                    <a:lnTo>
                      <a:pt x="1785943" y="1143000"/>
                    </a:lnTo>
                    <a:lnTo>
                      <a:pt x="1785943" y="952500"/>
                    </a:lnTo>
                    <a:close/>
                    <a:moveTo>
                      <a:pt x="1104905" y="1714500"/>
                    </a:moveTo>
                    <a:lnTo>
                      <a:pt x="2097391" y="1714500"/>
                    </a:lnTo>
                    <a:lnTo>
                      <a:pt x="1104905" y="2315861"/>
                    </a:lnTo>
                    <a:lnTo>
                      <a:pt x="1104905" y="1714500"/>
                    </a:lnTo>
                    <a:close/>
                    <a:moveTo>
                      <a:pt x="2343155" y="4449271"/>
                    </a:moveTo>
                    <a:cubicBezTo>
                      <a:pt x="2343174" y="4432345"/>
                      <a:pt x="2207376" y="4401122"/>
                      <a:pt x="2189612" y="4397274"/>
                    </a:cubicBezTo>
                    <a:cubicBezTo>
                      <a:pt x="2023839" y="4361393"/>
                      <a:pt x="1845874" y="4384177"/>
                      <a:pt x="1695588" y="4463282"/>
                    </a:cubicBezTo>
                    <a:cubicBezTo>
                      <a:pt x="1586546" y="4520670"/>
                      <a:pt x="1481343" y="4587621"/>
                      <a:pt x="1356632" y="4603681"/>
                    </a:cubicBezTo>
                    <a:cubicBezTo>
                      <a:pt x="1356403" y="4603709"/>
                      <a:pt x="1356175" y="4603737"/>
                      <a:pt x="1355946" y="4603766"/>
                    </a:cubicBezTo>
                    <a:cubicBezTo>
                      <a:pt x="1283080" y="4612624"/>
                      <a:pt x="1208499" y="4607262"/>
                      <a:pt x="1137976" y="4586697"/>
                    </a:cubicBezTo>
                    <a:lnTo>
                      <a:pt x="617082" y="2834183"/>
                    </a:lnTo>
                    <a:lnTo>
                      <a:pt x="2343155" y="1788338"/>
                    </a:lnTo>
                    <a:cubicBezTo>
                      <a:pt x="2343155" y="1788338"/>
                      <a:pt x="2343155" y="4449166"/>
                      <a:pt x="2343155" y="4449271"/>
                    </a:cubicBezTo>
                    <a:close/>
                    <a:moveTo>
                      <a:pt x="1390655" y="1524000"/>
                    </a:moveTo>
                    <a:lnTo>
                      <a:pt x="1390655" y="1333500"/>
                    </a:lnTo>
                    <a:lnTo>
                      <a:pt x="3486155" y="1333500"/>
                    </a:lnTo>
                    <a:lnTo>
                      <a:pt x="3486155" y="1524000"/>
                    </a:lnTo>
                    <a:lnTo>
                      <a:pt x="1390655" y="1524000"/>
                    </a:lnTo>
                    <a:close/>
                    <a:moveTo>
                      <a:pt x="3791165" y="4410637"/>
                    </a:moveTo>
                    <a:cubicBezTo>
                      <a:pt x="3792222" y="4381167"/>
                      <a:pt x="3524093" y="4381434"/>
                      <a:pt x="3506129" y="4383329"/>
                    </a:cubicBezTo>
                    <a:cubicBezTo>
                      <a:pt x="3340794" y="4400817"/>
                      <a:pt x="3197767" y="4485885"/>
                      <a:pt x="3051863" y="4558837"/>
                    </a:cubicBezTo>
                    <a:cubicBezTo>
                      <a:pt x="2879498" y="4645019"/>
                      <a:pt x="2702143" y="4620244"/>
                      <a:pt x="2533655" y="4539977"/>
                    </a:cubicBezTo>
                    <a:lnTo>
                      <a:pt x="2533655" y="1788338"/>
                    </a:lnTo>
                    <a:lnTo>
                      <a:pt x="4259728" y="2834183"/>
                    </a:lnTo>
                    <a:lnTo>
                      <a:pt x="3791165" y="441063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84" name="Graphic 6">
              <a:extLst>
                <a:ext uri="{FF2B5EF4-FFF2-40B4-BE49-F238E27FC236}">
                  <a16:creationId xmlns:a16="http://schemas.microsoft.com/office/drawing/2014/main" id="{EE5E0936-DB07-4FB8-9ADD-A950A2D44FEA}"/>
                </a:ext>
              </a:extLst>
            </p:cNvPr>
            <p:cNvGrpSpPr/>
            <p:nvPr/>
          </p:nvGrpSpPr>
          <p:grpSpPr>
            <a:xfrm>
              <a:off x="4749964" y="3336669"/>
              <a:ext cx="525327" cy="610329"/>
              <a:chOff x="9068616" y="-80180"/>
              <a:chExt cx="856259" cy="994809"/>
            </a:xfrm>
            <a:solidFill>
              <a:schemeClr val="tx2"/>
            </a:solidFill>
          </p:grpSpPr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845C4647-5AEC-4581-B727-40312D8CE99E}"/>
                  </a:ext>
                </a:extLst>
              </p:cNvPr>
              <p:cNvSpPr/>
              <p:nvPr/>
            </p:nvSpPr>
            <p:spPr>
              <a:xfrm>
                <a:off x="9234143" y="268539"/>
                <a:ext cx="487174" cy="646089"/>
              </a:xfrm>
              <a:custGeom>
                <a:avLst/>
                <a:gdLst>
                  <a:gd name="connsiteX0" fmla="*/ 335927 w 487174"/>
                  <a:gd name="connsiteY0" fmla="*/ 544678 h 646089"/>
                  <a:gd name="connsiteX1" fmla="*/ 238191 w 487174"/>
                  <a:gd name="connsiteY1" fmla="*/ 470811 h 646089"/>
                  <a:gd name="connsiteX2" fmla="*/ 211378 w 487174"/>
                  <a:gd name="connsiteY2" fmla="*/ 351120 h 646089"/>
                  <a:gd name="connsiteX3" fmla="*/ 248097 w 487174"/>
                  <a:gd name="connsiteY3" fmla="*/ 282997 h 646089"/>
                  <a:gd name="connsiteX4" fmla="*/ 388600 w 487174"/>
                  <a:gd name="connsiteY4" fmla="*/ 156791 h 646089"/>
                  <a:gd name="connsiteX5" fmla="*/ 204244 w 487174"/>
                  <a:gd name="connsiteY5" fmla="*/ 263766 h 646089"/>
                  <a:gd name="connsiteX6" fmla="*/ 277272 w 487174"/>
                  <a:gd name="connsiteY6" fmla="*/ 0 h 646089"/>
                  <a:gd name="connsiteX7" fmla="*/ 206472 w 487174"/>
                  <a:gd name="connsiteY7" fmla="*/ 525313 h 646089"/>
                  <a:gd name="connsiteX8" fmla="*/ 168087 w 487174"/>
                  <a:gd name="connsiteY8" fmla="*/ 524666 h 646089"/>
                  <a:gd name="connsiteX9" fmla="*/ 4666 w 487174"/>
                  <a:gd name="connsiteY9" fmla="*/ 573234 h 646089"/>
                  <a:gd name="connsiteX10" fmla="*/ 2399 w 487174"/>
                  <a:gd name="connsiteY10" fmla="*/ 611705 h 646089"/>
                  <a:gd name="connsiteX11" fmla="*/ 165724 w 487174"/>
                  <a:gd name="connsiteY11" fmla="*/ 643128 h 646089"/>
                  <a:gd name="connsiteX12" fmla="*/ 339127 w 487174"/>
                  <a:gd name="connsiteY12" fmla="*/ 640518 h 646089"/>
                  <a:gd name="connsiteX13" fmla="*/ 487174 w 487174"/>
                  <a:gd name="connsiteY13" fmla="*/ 605447 h 646089"/>
                  <a:gd name="connsiteX14" fmla="*/ 335927 w 487174"/>
                  <a:gd name="connsiteY14" fmla="*/ 544678 h 64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87174" h="646089">
                    <a:moveTo>
                      <a:pt x="335927" y="544678"/>
                    </a:moveTo>
                    <a:cubicBezTo>
                      <a:pt x="280777" y="543725"/>
                      <a:pt x="252545" y="516969"/>
                      <a:pt x="238191" y="470811"/>
                    </a:cubicBezTo>
                    <a:cubicBezTo>
                      <a:pt x="226151" y="431959"/>
                      <a:pt x="220331" y="391020"/>
                      <a:pt x="211378" y="351120"/>
                    </a:cubicBezTo>
                    <a:cubicBezTo>
                      <a:pt x="203882" y="317487"/>
                      <a:pt x="213026" y="297399"/>
                      <a:pt x="248097" y="282997"/>
                    </a:cubicBezTo>
                    <a:cubicBezTo>
                      <a:pt x="307171" y="258813"/>
                      <a:pt x="353462" y="217294"/>
                      <a:pt x="388600" y="156791"/>
                    </a:cubicBezTo>
                    <a:cubicBezTo>
                      <a:pt x="330250" y="194824"/>
                      <a:pt x="206177" y="288246"/>
                      <a:pt x="204244" y="263766"/>
                    </a:cubicBezTo>
                    <a:cubicBezTo>
                      <a:pt x="204244" y="179765"/>
                      <a:pt x="251640" y="81734"/>
                      <a:pt x="277272" y="0"/>
                    </a:cubicBezTo>
                    <a:cubicBezTo>
                      <a:pt x="141855" y="185537"/>
                      <a:pt x="108470" y="309039"/>
                      <a:pt x="206472" y="525313"/>
                    </a:cubicBezTo>
                    <a:cubicBezTo>
                      <a:pt x="184108" y="519836"/>
                      <a:pt x="173697" y="529619"/>
                      <a:pt x="168087" y="524666"/>
                    </a:cubicBezTo>
                    <a:cubicBezTo>
                      <a:pt x="114509" y="477364"/>
                      <a:pt x="59673" y="534114"/>
                      <a:pt x="4666" y="573234"/>
                    </a:cubicBezTo>
                    <a:cubicBezTo>
                      <a:pt x="-2249" y="578129"/>
                      <a:pt x="-106" y="611181"/>
                      <a:pt x="2399" y="611705"/>
                    </a:cubicBezTo>
                    <a:cubicBezTo>
                      <a:pt x="56444" y="624278"/>
                      <a:pt x="110746" y="638623"/>
                      <a:pt x="165724" y="643128"/>
                    </a:cubicBezTo>
                    <a:cubicBezTo>
                      <a:pt x="223227" y="647881"/>
                      <a:pt x="281844" y="646843"/>
                      <a:pt x="339127" y="640518"/>
                    </a:cubicBezTo>
                    <a:cubicBezTo>
                      <a:pt x="386781" y="635308"/>
                      <a:pt x="433129" y="618687"/>
                      <a:pt x="487174" y="605447"/>
                    </a:cubicBezTo>
                    <a:cubicBezTo>
                      <a:pt x="442064" y="541382"/>
                      <a:pt x="385542" y="545421"/>
                      <a:pt x="335927" y="5446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90D4243F-87EC-4789-8466-F4F3DA2AE646}"/>
                  </a:ext>
                </a:extLst>
              </p:cNvPr>
              <p:cNvSpPr/>
              <p:nvPr/>
            </p:nvSpPr>
            <p:spPr>
              <a:xfrm>
                <a:off x="9614909" y="331258"/>
                <a:ext cx="178969" cy="129633"/>
              </a:xfrm>
              <a:custGeom>
                <a:avLst/>
                <a:gdLst>
                  <a:gd name="connsiteX0" fmla="*/ 47277 w 178969"/>
                  <a:gd name="connsiteY0" fmla="*/ 12986 h 129633"/>
                  <a:gd name="connsiteX1" fmla="*/ 14 w 178969"/>
                  <a:gd name="connsiteY1" fmla="*/ 83833 h 129633"/>
                  <a:gd name="connsiteX2" fmla="*/ 67746 w 178969"/>
                  <a:gd name="connsiteY2" fmla="*/ 69317 h 129633"/>
                  <a:gd name="connsiteX3" fmla="*/ 25836 w 178969"/>
                  <a:gd name="connsiteY3" fmla="*/ 123419 h 129633"/>
                  <a:gd name="connsiteX4" fmla="*/ 106799 w 178969"/>
                  <a:gd name="connsiteY4" fmla="*/ 114875 h 129633"/>
                  <a:gd name="connsiteX5" fmla="*/ 178970 w 178969"/>
                  <a:gd name="connsiteY5" fmla="*/ 4414 h 129633"/>
                  <a:gd name="connsiteX6" fmla="*/ 47277 w 178969"/>
                  <a:gd name="connsiteY6" fmla="*/ 12986 h 129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8969" h="129633">
                    <a:moveTo>
                      <a:pt x="47277" y="12986"/>
                    </a:moveTo>
                    <a:cubicBezTo>
                      <a:pt x="17225" y="30541"/>
                      <a:pt x="-567" y="58878"/>
                      <a:pt x="14" y="83833"/>
                    </a:cubicBezTo>
                    <a:cubicBezTo>
                      <a:pt x="147" y="91529"/>
                      <a:pt x="63898" y="62783"/>
                      <a:pt x="67746" y="69317"/>
                    </a:cubicBezTo>
                    <a:cubicBezTo>
                      <a:pt x="72375" y="77242"/>
                      <a:pt x="17483" y="119371"/>
                      <a:pt x="25836" y="123419"/>
                    </a:cubicBezTo>
                    <a:cubicBezTo>
                      <a:pt x="47210" y="133811"/>
                      <a:pt x="78500" y="131306"/>
                      <a:pt x="106799" y="114875"/>
                    </a:cubicBezTo>
                    <a:cubicBezTo>
                      <a:pt x="145975" y="91967"/>
                      <a:pt x="178970" y="4414"/>
                      <a:pt x="178970" y="4414"/>
                    </a:cubicBezTo>
                    <a:cubicBezTo>
                      <a:pt x="178970" y="4414"/>
                      <a:pt x="86520" y="-9883"/>
                      <a:pt x="47277" y="129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2E7A182E-64FC-4DB4-99BE-6363CFE2F497}"/>
                  </a:ext>
                </a:extLst>
              </p:cNvPr>
              <p:cNvSpPr/>
              <p:nvPr/>
            </p:nvSpPr>
            <p:spPr>
              <a:xfrm>
                <a:off x="9601548" y="202087"/>
                <a:ext cx="134047" cy="97098"/>
              </a:xfrm>
              <a:custGeom>
                <a:avLst/>
                <a:gdLst>
                  <a:gd name="connsiteX0" fmla="*/ 19376 w 134047"/>
                  <a:gd name="connsiteY0" fmla="*/ 92475 h 97098"/>
                  <a:gd name="connsiteX1" fmla="*/ 80002 w 134047"/>
                  <a:gd name="connsiteY1" fmla="*/ 86036 h 97098"/>
                  <a:gd name="connsiteX2" fmla="*/ 134047 w 134047"/>
                  <a:gd name="connsiteY2" fmla="*/ 3321 h 97098"/>
                  <a:gd name="connsiteX3" fmla="*/ 35416 w 134047"/>
                  <a:gd name="connsiteY3" fmla="*/ 9693 h 97098"/>
                  <a:gd name="connsiteX4" fmla="*/ 11 w 134047"/>
                  <a:gd name="connsiteY4" fmla="*/ 62795 h 97098"/>
                  <a:gd name="connsiteX5" fmla="*/ 50732 w 134047"/>
                  <a:gd name="connsiteY5" fmla="*/ 51956 h 97098"/>
                  <a:gd name="connsiteX6" fmla="*/ 19376 w 134047"/>
                  <a:gd name="connsiteY6" fmla="*/ 92475 h 97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4047" h="97098">
                    <a:moveTo>
                      <a:pt x="19376" y="92475"/>
                    </a:moveTo>
                    <a:cubicBezTo>
                      <a:pt x="35387" y="100219"/>
                      <a:pt x="58819" y="98342"/>
                      <a:pt x="80002" y="86036"/>
                    </a:cubicBezTo>
                    <a:cubicBezTo>
                      <a:pt x="109339" y="68910"/>
                      <a:pt x="134047" y="3321"/>
                      <a:pt x="134047" y="3321"/>
                    </a:cubicBezTo>
                    <a:cubicBezTo>
                      <a:pt x="134047" y="3321"/>
                      <a:pt x="64810" y="-7404"/>
                      <a:pt x="35416" y="9693"/>
                    </a:cubicBezTo>
                    <a:cubicBezTo>
                      <a:pt x="12927" y="22914"/>
                      <a:pt x="-446" y="44098"/>
                      <a:pt x="11" y="62795"/>
                    </a:cubicBezTo>
                    <a:cubicBezTo>
                      <a:pt x="145" y="68577"/>
                      <a:pt x="47865" y="47022"/>
                      <a:pt x="50732" y="51956"/>
                    </a:cubicBezTo>
                    <a:cubicBezTo>
                      <a:pt x="54199" y="57890"/>
                      <a:pt x="13051" y="89408"/>
                      <a:pt x="19376" y="924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DBE4F83F-8186-4544-BD55-8CB884708A83}"/>
                  </a:ext>
                </a:extLst>
              </p:cNvPr>
              <p:cNvSpPr/>
              <p:nvPr/>
            </p:nvSpPr>
            <p:spPr>
              <a:xfrm>
                <a:off x="9732720" y="213958"/>
                <a:ext cx="101258" cy="73396"/>
              </a:xfrm>
              <a:custGeom>
                <a:avLst/>
                <a:gdLst>
                  <a:gd name="connsiteX0" fmla="*/ 26735 w 101258"/>
                  <a:gd name="connsiteY0" fmla="*/ 7337 h 73396"/>
                  <a:gd name="connsiteX1" fmla="*/ 8 w 101258"/>
                  <a:gd name="connsiteY1" fmla="*/ 47447 h 73396"/>
                  <a:gd name="connsiteX2" fmla="*/ 38308 w 101258"/>
                  <a:gd name="connsiteY2" fmla="*/ 39284 h 73396"/>
                  <a:gd name="connsiteX3" fmla="*/ 14581 w 101258"/>
                  <a:gd name="connsiteY3" fmla="*/ 69887 h 73396"/>
                  <a:gd name="connsiteX4" fmla="*/ 60415 w 101258"/>
                  <a:gd name="connsiteY4" fmla="*/ 65011 h 73396"/>
                  <a:gd name="connsiteX5" fmla="*/ 101258 w 101258"/>
                  <a:gd name="connsiteY5" fmla="*/ 2527 h 73396"/>
                  <a:gd name="connsiteX6" fmla="*/ 26735 w 101258"/>
                  <a:gd name="connsiteY6" fmla="*/ 7337 h 73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258" h="73396">
                    <a:moveTo>
                      <a:pt x="26735" y="7337"/>
                    </a:moveTo>
                    <a:cubicBezTo>
                      <a:pt x="9723" y="17309"/>
                      <a:pt x="-316" y="33331"/>
                      <a:pt x="8" y="47447"/>
                    </a:cubicBezTo>
                    <a:cubicBezTo>
                      <a:pt x="74" y="51828"/>
                      <a:pt x="36117" y="35569"/>
                      <a:pt x="38308" y="39284"/>
                    </a:cubicBezTo>
                    <a:cubicBezTo>
                      <a:pt x="40908" y="43751"/>
                      <a:pt x="9790" y="67611"/>
                      <a:pt x="14581" y="69887"/>
                    </a:cubicBezTo>
                    <a:cubicBezTo>
                      <a:pt x="26706" y="75755"/>
                      <a:pt x="44404" y="74355"/>
                      <a:pt x="60415" y="65011"/>
                    </a:cubicBezTo>
                    <a:cubicBezTo>
                      <a:pt x="82580" y="52085"/>
                      <a:pt x="101258" y="2527"/>
                      <a:pt x="101258" y="2527"/>
                    </a:cubicBezTo>
                    <a:cubicBezTo>
                      <a:pt x="101258" y="2527"/>
                      <a:pt x="48966" y="-5617"/>
                      <a:pt x="26735" y="73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5FB66362-2646-4E21-8FAB-BB8672B50D38}"/>
                  </a:ext>
                </a:extLst>
              </p:cNvPr>
              <p:cNvSpPr/>
              <p:nvPr/>
            </p:nvSpPr>
            <p:spPr>
              <a:xfrm>
                <a:off x="9809407" y="360016"/>
                <a:ext cx="71700" cy="43473"/>
              </a:xfrm>
              <a:custGeom>
                <a:avLst/>
                <a:gdLst>
                  <a:gd name="connsiteX0" fmla="*/ 54 w 71700"/>
                  <a:gd name="connsiteY0" fmla="*/ 13984 h 43473"/>
                  <a:gd name="connsiteX1" fmla="*/ 24371 w 71700"/>
                  <a:gd name="connsiteY1" fmla="*/ 21775 h 43473"/>
                  <a:gd name="connsiteX2" fmla="*/ 1102 w 71700"/>
                  <a:gd name="connsiteY2" fmla="*/ 31405 h 43473"/>
                  <a:gd name="connsiteX3" fmla="*/ 28543 w 71700"/>
                  <a:gd name="connsiteY3" fmla="*/ 43473 h 43473"/>
                  <a:gd name="connsiteX4" fmla="*/ 71701 w 71700"/>
                  <a:gd name="connsiteY4" fmla="*/ 21375 h 43473"/>
                  <a:gd name="connsiteX5" fmla="*/ 28143 w 71700"/>
                  <a:gd name="connsiteY5" fmla="*/ 1 h 43473"/>
                  <a:gd name="connsiteX6" fmla="*/ 54 w 71700"/>
                  <a:gd name="connsiteY6" fmla="*/ 13984 h 43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700" h="43473">
                    <a:moveTo>
                      <a:pt x="54" y="13984"/>
                    </a:moveTo>
                    <a:cubicBezTo>
                      <a:pt x="-1327" y="16527"/>
                      <a:pt x="24305" y="18965"/>
                      <a:pt x="24371" y="21775"/>
                    </a:cubicBezTo>
                    <a:cubicBezTo>
                      <a:pt x="24371" y="25166"/>
                      <a:pt x="-851" y="28566"/>
                      <a:pt x="1102" y="31405"/>
                    </a:cubicBezTo>
                    <a:cubicBezTo>
                      <a:pt x="5997" y="38625"/>
                      <a:pt x="16484" y="43530"/>
                      <a:pt x="28543" y="43473"/>
                    </a:cubicBezTo>
                    <a:cubicBezTo>
                      <a:pt x="45240" y="43292"/>
                      <a:pt x="71701" y="21375"/>
                      <a:pt x="71701" y="21375"/>
                    </a:cubicBezTo>
                    <a:cubicBezTo>
                      <a:pt x="71701" y="21375"/>
                      <a:pt x="44840" y="-170"/>
                      <a:pt x="28143" y="1"/>
                    </a:cubicBezTo>
                    <a:cubicBezTo>
                      <a:pt x="15313" y="134"/>
                      <a:pt x="4416" y="5983"/>
                      <a:pt x="54" y="1398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1437C94D-3AE3-432D-92AD-6B3E9EA10A8A}"/>
                  </a:ext>
                </a:extLst>
              </p:cNvPr>
              <p:cNvSpPr/>
              <p:nvPr/>
            </p:nvSpPr>
            <p:spPr>
              <a:xfrm>
                <a:off x="9847307" y="262505"/>
                <a:ext cx="77568" cy="47326"/>
              </a:xfrm>
              <a:custGeom>
                <a:avLst/>
                <a:gdLst>
                  <a:gd name="connsiteX0" fmla="*/ 27210 w 77568"/>
                  <a:gd name="connsiteY0" fmla="*/ 415 h 47326"/>
                  <a:gd name="connsiteX1" fmla="*/ 26 w 77568"/>
                  <a:gd name="connsiteY1" fmla="*/ 20579 h 47326"/>
                  <a:gd name="connsiteX2" fmla="*/ 27334 w 77568"/>
                  <a:gd name="connsiteY2" fmla="*/ 24284 h 47326"/>
                  <a:gd name="connsiteX3" fmla="*/ 4360 w 77568"/>
                  <a:gd name="connsiteY3" fmla="*/ 38905 h 47326"/>
                  <a:gd name="connsiteX4" fmla="*/ 35783 w 77568"/>
                  <a:gd name="connsiteY4" fmla="*/ 46554 h 47326"/>
                  <a:gd name="connsiteX5" fmla="*/ 77569 w 77568"/>
                  <a:gd name="connsiteY5" fmla="*/ 14950 h 47326"/>
                  <a:gd name="connsiteX6" fmla="*/ 27210 w 77568"/>
                  <a:gd name="connsiteY6" fmla="*/ 415 h 47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568" h="47326">
                    <a:moveTo>
                      <a:pt x="27210" y="415"/>
                    </a:moveTo>
                    <a:cubicBezTo>
                      <a:pt x="13589" y="2977"/>
                      <a:pt x="3160" y="11159"/>
                      <a:pt x="26" y="20579"/>
                    </a:cubicBezTo>
                    <a:cubicBezTo>
                      <a:pt x="-965" y="23513"/>
                      <a:pt x="26753" y="21284"/>
                      <a:pt x="27334" y="24284"/>
                    </a:cubicBezTo>
                    <a:cubicBezTo>
                      <a:pt x="27982" y="27818"/>
                      <a:pt x="1779" y="36229"/>
                      <a:pt x="4360" y="38905"/>
                    </a:cubicBezTo>
                    <a:cubicBezTo>
                      <a:pt x="10942" y="45620"/>
                      <a:pt x="23038" y="48944"/>
                      <a:pt x="35783" y="46554"/>
                    </a:cubicBezTo>
                    <a:cubicBezTo>
                      <a:pt x="53480" y="43239"/>
                      <a:pt x="77569" y="14950"/>
                      <a:pt x="77569" y="14950"/>
                    </a:cubicBezTo>
                    <a:cubicBezTo>
                      <a:pt x="77569" y="14950"/>
                      <a:pt x="44955" y="-2919"/>
                      <a:pt x="27210" y="41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4765CB2-AF96-4934-B11A-B02B0677248F}"/>
                  </a:ext>
                </a:extLst>
              </p:cNvPr>
              <p:cNvSpPr/>
              <p:nvPr/>
            </p:nvSpPr>
            <p:spPr>
              <a:xfrm>
                <a:off x="9516559" y="306976"/>
                <a:ext cx="101230" cy="73428"/>
              </a:xfrm>
              <a:custGeom>
                <a:avLst/>
                <a:gdLst>
                  <a:gd name="connsiteX0" fmla="*/ 14582 w 101230"/>
                  <a:gd name="connsiteY0" fmla="*/ 69891 h 73428"/>
                  <a:gd name="connsiteX1" fmla="*/ 60426 w 101230"/>
                  <a:gd name="connsiteY1" fmla="*/ 65034 h 73428"/>
                  <a:gd name="connsiteX2" fmla="*/ 101231 w 101230"/>
                  <a:gd name="connsiteY2" fmla="*/ 2512 h 73428"/>
                  <a:gd name="connsiteX3" fmla="*/ 26726 w 101230"/>
                  <a:gd name="connsiteY3" fmla="*/ 7341 h 73428"/>
                  <a:gd name="connsiteX4" fmla="*/ 9 w 101230"/>
                  <a:gd name="connsiteY4" fmla="*/ 47460 h 73428"/>
                  <a:gd name="connsiteX5" fmla="*/ 38318 w 101230"/>
                  <a:gd name="connsiteY5" fmla="*/ 39278 h 73428"/>
                  <a:gd name="connsiteX6" fmla="*/ 14582 w 101230"/>
                  <a:gd name="connsiteY6" fmla="*/ 69891 h 73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1230" h="73428">
                    <a:moveTo>
                      <a:pt x="14582" y="69891"/>
                    </a:moveTo>
                    <a:cubicBezTo>
                      <a:pt x="26669" y="75806"/>
                      <a:pt x="44395" y="74378"/>
                      <a:pt x="60426" y="65034"/>
                    </a:cubicBezTo>
                    <a:cubicBezTo>
                      <a:pt x="82590" y="52080"/>
                      <a:pt x="101231" y="2512"/>
                      <a:pt x="101231" y="2512"/>
                    </a:cubicBezTo>
                    <a:cubicBezTo>
                      <a:pt x="101231" y="2512"/>
                      <a:pt x="48957" y="-5604"/>
                      <a:pt x="26726" y="7341"/>
                    </a:cubicBezTo>
                    <a:cubicBezTo>
                      <a:pt x="9705" y="17332"/>
                      <a:pt x="-334" y="33344"/>
                      <a:pt x="9" y="47460"/>
                    </a:cubicBezTo>
                    <a:cubicBezTo>
                      <a:pt x="75" y="51823"/>
                      <a:pt x="36108" y="35573"/>
                      <a:pt x="38318" y="39278"/>
                    </a:cubicBezTo>
                    <a:cubicBezTo>
                      <a:pt x="40937" y="43764"/>
                      <a:pt x="9848" y="67596"/>
                      <a:pt x="14582" y="6989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425A5468-E8BE-406B-BC63-6E14B7E1BC95}"/>
                  </a:ext>
                </a:extLst>
              </p:cNvPr>
              <p:cNvSpPr/>
              <p:nvPr/>
            </p:nvSpPr>
            <p:spPr>
              <a:xfrm>
                <a:off x="9615683" y="89860"/>
                <a:ext cx="84193" cy="91097"/>
              </a:xfrm>
              <a:custGeom>
                <a:avLst/>
                <a:gdLst>
                  <a:gd name="connsiteX0" fmla="*/ 1783 w 84193"/>
                  <a:gd name="connsiteY0" fmla="*/ 74057 h 91097"/>
                  <a:gd name="connsiteX1" fmla="*/ 35692 w 84193"/>
                  <a:gd name="connsiteY1" fmla="*/ 54407 h 91097"/>
                  <a:gd name="connsiteX2" fmla="*/ 22586 w 84193"/>
                  <a:gd name="connsiteY2" fmla="*/ 90783 h 91097"/>
                  <a:gd name="connsiteX3" fmla="*/ 64705 w 84193"/>
                  <a:gd name="connsiteY3" fmla="*/ 71990 h 91097"/>
                  <a:gd name="connsiteX4" fmla="*/ 84193 w 84193"/>
                  <a:gd name="connsiteY4" fmla="*/ 0 h 91097"/>
                  <a:gd name="connsiteX5" fmla="*/ 14832 w 84193"/>
                  <a:gd name="connsiteY5" fmla="*/ 27565 h 91097"/>
                  <a:gd name="connsiteX6" fmla="*/ 1783 w 84193"/>
                  <a:gd name="connsiteY6" fmla="*/ 74057 h 9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4193" h="91097">
                    <a:moveTo>
                      <a:pt x="1783" y="74057"/>
                    </a:moveTo>
                    <a:cubicBezTo>
                      <a:pt x="3221" y="78162"/>
                      <a:pt x="32425" y="51502"/>
                      <a:pt x="35692" y="54407"/>
                    </a:cubicBezTo>
                    <a:cubicBezTo>
                      <a:pt x="39597" y="57807"/>
                      <a:pt x="17366" y="90116"/>
                      <a:pt x="22586" y="90783"/>
                    </a:cubicBezTo>
                    <a:cubicBezTo>
                      <a:pt x="35949" y="92688"/>
                      <a:pt x="52380" y="85877"/>
                      <a:pt x="64705" y="71990"/>
                    </a:cubicBezTo>
                    <a:cubicBezTo>
                      <a:pt x="81784" y="52873"/>
                      <a:pt x="84193" y="0"/>
                      <a:pt x="84193" y="0"/>
                    </a:cubicBezTo>
                    <a:cubicBezTo>
                      <a:pt x="84193" y="0"/>
                      <a:pt x="31911" y="8382"/>
                      <a:pt x="14832" y="27565"/>
                    </a:cubicBezTo>
                    <a:cubicBezTo>
                      <a:pt x="1716" y="42358"/>
                      <a:pt x="-2903" y="60712"/>
                      <a:pt x="1783" y="740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3881B28A-CDBD-45C7-AB1A-52785658ED71}"/>
                  </a:ext>
                </a:extLst>
              </p:cNvPr>
              <p:cNvSpPr/>
              <p:nvPr/>
            </p:nvSpPr>
            <p:spPr>
              <a:xfrm>
                <a:off x="9751785" y="89850"/>
                <a:ext cx="84146" cy="91097"/>
              </a:xfrm>
              <a:custGeom>
                <a:avLst/>
                <a:gdLst>
                  <a:gd name="connsiteX0" fmla="*/ 35712 w 84146"/>
                  <a:gd name="connsiteY0" fmla="*/ 54407 h 91097"/>
                  <a:gd name="connsiteX1" fmla="*/ 22605 w 84146"/>
                  <a:gd name="connsiteY1" fmla="*/ 90783 h 91097"/>
                  <a:gd name="connsiteX2" fmla="*/ 64725 w 84146"/>
                  <a:gd name="connsiteY2" fmla="*/ 71990 h 91097"/>
                  <a:gd name="connsiteX3" fmla="*/ 84146 w 84146"/>
                  <a:gd name="connsiteY3" fmla="*/ 0 h 91097"/>
                  <a:gd name="connsiteX4" fmla="*/ 14785 w 84146"/>
                  <a:gd name="connsiteY4" fmla="*/ 27594 h 91097"/>
                  <a:gd name="connsiteX5" fmla="*/ 1745 w 84146"/>
                  <a:gd name="connsiteY5" fmla="*/ 74095 h 91097"/>
                  <a:gd name="connsiteX6" fmla="*/ 35712 w 84146"/>
                  <a:gd name="connsiteY6" fmla="*/ 54407 h 9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4146" h="91097">
                    <a:moveTo>
                      <a:pt x="35712" y="54407"/>
                    </a:moveTo>
                    <a:cubicBezTo>
                      <a:pt x="39550" y="57807"/>
                      <a:pt x="17385" y="90116"/>
                      <a:pt x="22605" y="90783"/>
                    </a:cubicBezTo>
                    <a:cubicBezTo>
                      <a:pt x="35931" y="92688"/>
                      <a:pt x="52399" y="85877"/>
                      <a:pt x="64725" y="71990"/>
                    </a:cubicBezTo>
                    <a:cubicBezTo>
                      <a:pt x="81736" y="52873"/>
                      <a:pt x="84146" y="0"/>
                      <a:pt x="84146" y="0"/>
                    </a:cubicBezTo>
                    <a:cubicBezTo>
                      <a:pt x="84146" y="0"/>
                      <a:pt x="31863" y="8411"/>
                      <a:pt x="14785" y="27594"/>
                    </a:cubicBezTo>
                    <a:cubicBezTo>
                      <a:pt x="1745" y="42358"/>
                      <a:pt x="-2874" y="60741"/>
                      <a:pt x="1745" y="74095"/>
                    </a:cubicBezTo>
                    <a:cubicBezTo>
                      <a:pt x="3174" y="78172"/>
                      <a:pt x="32444" y="51511"/>
                      <a:pt x="35712" y="544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296" name="Freeform: Shape 55295">
                <a:extLst>
                  <a:ext uri="{FF2B5EF4-FFF2-40B4-BE49-F238E27FC236}">
                    <a16:creationId xmlns:a16="http://schemas.microsoft.com/office/drawing/2014/main" id="{91D866E5-12C7-45B1-9EF2-AE2CE5329942}"/>
                  </a:ext>
                </a:extLst>
              </p:cNvPr>
              <p:cNvSpPr/>
              <p:nvPr/>
            </p:nvSpPr>
            <p:spPr>
              <a:xfrm>
                <a:off x="9584389" y="-1293"/>
                <a:ext cx="84188" cy="91144"/>
              </a:xfrm>
              <a:custGeom>
                <a:avLst/>
                <a:gdLst>
                  <a:gd name="connsiteX0" fmla="*/ 35687 w 84188"/>
                  <a:gd name="connsiteY0" fmla="*/ 54397 h 91144"/>
                  <a:gd name="connsiteX1" fmla="*/ 22552 w 84188"/>
                  <a:gd name="connsiteY1" fmla="*/ 90840 h 91144"/>
                  <a:gd name="connsiteX2" fmla="*/ 64700 w 84188"/>
                  <a:gd name="connsiteY2" fmla="*/ 72047 h 91144"/>
                  <a:gd name="connsiteX3" fmla="*/ 84188 w 84188"/>
                  <a:gd name="connsiteY3" fmla="*/ 0 h 91144"/>
                  <a:gd name="connsiteX4" fmla="*/ 14827 w 84188"/>
                  <a:gd name="connsiteY4" fmla="*/ 27594 h 91144"/>
                  <a:gd name="connsiteX5" fmla="*/ 1787 w 84188"/>
                  <a:gd name="connsiteY5" fmla="*/ 74057 h 91144"/>
                  <a:gd name="connsiteX6" fmla="*/ 35687 w 84188"/>
                  <a:gd name="connsiteY6" fmla="*/ 54397 h 91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4188" h="91144">
                    <a:moveTo>
                      <a:pt x="35687" y="54397"/>
                    </a:moveTo>
                    <a:cubicBezTo>
                      <a:pt x="39592" y="57836"/>
                      <a:pt x="17361" y="90107"/>
                      <a:pt x="22552" y="90840"/>
                    </a:cubicBezTo>
                    <a:cubicBezTo>
                      <a:pt x="35906" y="92716"/>
                      <a:pt x="52375" y="85868"/>
                      <a:pt x="64700" y="72047"/>
                    </a:cubicBezTo>
                    <a:cubicBezTo>
                      <a:pt x="81778" y="52902"/>
                      <a:pt x="84188" y="0"/>
                      <a:pt x="84188" y="0"/>
                    </a:cubicBezTo>
                    <a:cubicBezTo>
                      <a:pt x="84188" y="0"/>
                      <a:pt x="31905" y="8411"/>
                      <a:pt x="14827" y="27594"/>
                    </a:cubicBezTo>
                    <a:cubicBezTo>
                      <a:pt x="1692" y="42329"/>
                      <a:pt x="-2899" y="60712"/>
                      <a:pt x="1787" y="74057"/>
                    </a:cubicBezTo>
                    <a:cubicBezTo>
                      <a:pt x="3226" y="78124"/>
                      <a:pt x="32429" y="51492"/>
                      <a:pt x="35687" y="5439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297" name="Freeform: Shape 55296">
                <a:extLst>
                  <a:ext uri="{FF2B5EF4-FFF2-40B4-BE49-F238E27FC236}">
                    <a16:creationId xmlns:a16="http://schemas.microsoft.com/office/drawing/2014/main" id="{8BDE7131-D18F-4D55-B8D0-0F55F17ADEBF}"/>
                  </a:ext>
                </a:extLst>
              </p:cNvPr>
              <p:cNvSpPr/>
              <p:nvPr/>
            </p:nvSpPr>
            <p:spPr>
              <a:xfrm>
                <a:off x="9477563" y="-80180"/>
                <a:ext cx="89558" cy="148358"/>
              </a:xfrm>
              <a:custGeom>
                <a:avLst/>
                <a:gdLst>
                  <a:gd name="connsiteX0" fmla="*/ 31079 w 89558"/>
                  <a:gd name="connsiteY0" fmla="*/ 148266 h 148358"/>
                  <a:gd name="connsiteX1" fmla="*/ 45167 w 89558"/>
                  <a:gd name="connsiteY1" fmla="*/ 97612 h 148358"/>
                  <a:gd name="connsiteX2" fmla="*/ 66827 w 89558"/>
                  <a:gd name="connsiteY2" fmla="*/ 144799 h 148358"/>
                  <a:gd name="connsiteX3" fmla="*/ 89449 w 89558"/>
                  <a:gd name="connsiteY3" fmla="*/ 87297 h 148358"/>
                  <a:gd name="connsiteX4" fmla="*/ 40671 w 89558"/>
                  <a:gd name="connsiteY4" fmla="*/ 0 h 148358"/>
                  <a:gd name="connsiteX5" fmla="*/ 47 w 89558"/>
                  <a:gd name="connsiteY5" fmla="*/ 91564 h 148358"/>
                  <a:gd name="connsiteX6" fmla="*/ 31079 w 89558"/>
                  <a:gd name="connsiteY6" fmla="*/ 148266 h 148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558" h="148358">
                    <a:moveTo>
                      <a:pt x="31079" y="148266"/>
                    </a:moveTo>
                    <a:cubicBezTo>
                      <a:pt x="36366" y="150866"/>
                      <a:pt x="39423" y="97898"/>
                      <a:pt x="45167" y="97612"/>
                    </a:cubicBezTo>
                    <a:cubicBezTo>
                      <a:pt x="52139" y="97241"/>
                      <a:pt x="61093" y="149085"/>
                      <a:pt x="66827" y="144799"/>
                    </a:cubicBezTo>
                    <a:cubicBezTo>
                      <a:pt x="81305" y="134122"/>
                      <a:pt x="90687" y="112119"/>
                      <a:pt x="89449" y="87297"/>
                    </a:cubicBezTo>
                    <a:cubicBezTo>
                      <a:pt x="87953" y="52969"/>
                      <a:pt x="40671" y="0"/>
                      <a:pt x="40671" y="0"/>
                    </a:cubicBezTo>
                    <a:cubicBezTo>
                      <a:pt x="40671" y="0"/>
                      <a:pt x="-1601" y="57112"/>
                      <a:pt x="47" y="91564"/>
                    </a:cubicBezTo>
                    <a:cubicBezTo>
                      <a:pt x="1304" y="117967"/>
                      <a:pt x="14163" y="139894"/>
                      <a:pt x="31079" y="14826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298" name="Freeform: Shape 55297">
                <a:extLst>
                  <a:ext uri="{FF2B5EF4-FFF2-40B4-BE49-F238E27FC236}">
                    <a16:creationId xmlns:a16="http://schemas.microsoft.com/office/drawing/2014/main" id="{FE622E22-0464-47DC-9639-5583AB7F38C0}"/>
                  </a:ext>
                </a:extLst>
              </p:cNvPr>
              <p:cNvSpPr/>
              <p:nvPr/>
            </p:nvSpPr>
            <p:spPr>
              <a:xfrm>
                <a:off x="9441241" y="68514"/>
                <a:ext cx="67954" cy="109529"/>
              </a:xfrm>
              <a:custGeom>
                <a:avLst/>
                <a:gdLst>
                  <a:gd name="connsiteX0" fmla="*/ 32998 w 67954"/>
                  <a:gd name="connsiteY0" fmla="*/ 109509 h 109529"/>
                  <a:gd name="connsiteX1" fmla="*/ 35131 w 67954"/>
                  <a:gd name="connsiteY1" fmla="*/ 70361 h 109529"/>
                  <a:gd name="connsiteX2" fmla="*/ 58382 w 67954"/>
                  <a:gd name="connsiteY2" fmla="*/ 101279 h 109529"/>
                  <a:gd name="connsiteX3" fmla="*/ 65764 w 67954"/>
                  <a:gd name="connsiteY3" fmla="*/ 55740 h 109529"/>
                  <a:gd name="connsiteX4" fmla="*/ 16091 w 67954"/>
                  <a:gd name="connsiteY4" fmla="*/ 0 h 109529"/>
                  <a:gd name="connsiteX5" fmla="*/ 1308 w 67954"/>
                  <a:gd name="connsiteY5" fmla="*/ 73162 h 109529"/>
                  <a:gd name="connsiteX6" fmla="*/ 32998 w 67954"/>
                  <a:gd name="connsiteY6" fmla="*/ 109509 h 109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954" h="109529">
                    <a:moveTo>
                      <a:pt x="32998" y="109509"/>
                    </a:moveTo>
                    <a:cubicBezTo>
                      <a:pt x="37303" y="110557"/>
                      <a:pt x="30959" y="71504"/>
                      <a:pt x="35131" y="70361"/>
                    </a:cubicBezTo>
                    <a:cubicBezTo>
                      <a:pt x="40075" y="68990"/>
                      <a:pt x="55020" y="105242"/>
                      <a:pt x="58382" y="101279"/>
                    </a:cubicBezTo>
                    <a:cubicBezTo>
                      <a:pt x="67326" y="91059"/>
                      <a:pt x="70507" y="73638"/>
                      <a:pt x="65764" y="55740"/>
                    </a:cubicBezTo>
                    <a:cubicBezTo>
                      <a:pt x="59049" y="30985"/>
                      <a:pt x="16091" y="0"/>
                      <a:pt x="16091" y="0"/>
                    </a:cubicBezTo>
                    <a:cubicBezTo>
                      <a:pt x="16091" y="0"/>
                      <a:pt x="-5436" y="48377"/>
                      <a:pt x="1308" y="73162"/>
                    </a:cubicBezTo>
                    <a:cubicBezTo>
                      <a:pt x="6452" y="92212"/>
                      <a:pt x="19310" y="106128"/>
                      <a:pt x="32998" y="1095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0" name="Freeform: Shape 55299">
                <a:extLst>
                  <a:ext uri="{FF2B5EF4-FFF2-40B4-BE49-F238E27FC236}">
                    <a16:creationId xmlns:a16="http://schemas.microsoft.com/office/drawing/2014/main" id="{075FFAC8-D993-4A72-9F5E-9F93E13CE578}"/>
                  </a:ext>
                </a:extLst>
              </p:cNvPr>
              <p:cNvSpPr/>
              <p:nvPr/>
            </p:nvSpPr>
            <p:spPr>
              <a:xfrm>
                <a:off x="9190755" y="146550"/>
                <a:ext cx="107624" cy="68764"/>
              </a:xfrm>
              <a:custGeom>
                <a:avLst/>
                <a:gdLst>
                  <a:gd name="connsiteX0" fmla="*/ 52435 w 107624"/>
                  <a:gd name="connsiteY0" fmla="*/ 65363 h 68764"/>
                  <a:gd name="connsiteX1" fmla="*/ 100298 w 107624"/>
                  <a:gd name="connsiteY1" fmla="*/ 59362 h 68764"/>
                  <a:gd name="connsiteX2" fmla="*/ 68990 w 107624"/>
                  <a:gd name="connsiteY2" fmla="*/ 35731 h 68764"/>
                  <a:gd name="connsiteX3" fmla="*/ 107585 w 107624"/>
                  <a:gd name="connsiteY3" fmla="*/ 33664 h 68764"/>
                  <a:gd name="connsiteX4" fmla="*/ 74000 w 107624"/>
                  <a:gd name="connsiteY4" fmla="*/ 2174 h 68764"/>
                  <a:gd name="connsiteX5" fmla="*/ 0 w 107624"/>
                  <a:gd name="connsiteY5" fmla="*/ 12194 h 68764"/>
                  <a:gd name="connsiteX6" fmla="*/ 52435 w 107624"/>
                  <a:gd name="connsiteY6" fmla="*/ 65363 h 68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624" h="68764">
                    <a:moveTo>
                      <a:pt x="52435" y="65363"/>
                    </a:moveTo>
                    <a:cubicBezTo>
                      <a:pt x="71095" y="71735"/>
                      <a:pt x="89792" y="68830"/>
                      <a:pt x="100298" y="59362"/>
                    </a:cubicBezTo>
                    <a:cubicBezTo>
                      <a:pt x="103508" y="56409"/>
                      <a:pt x="67589" y="39826"/>
                      <a:pt x="68990" y="35731"/>
                    </a:cubicBezTo>
                    <a:cubicBezTo>
                      <a:pt x="70637" y="30825"/>
                      <a:pt x="109023" y="38731"/>
                      <a:pt x="107585" y="33664"/>
                    </a:cubicBezTo>
                    <a:cubicBezTo>
                      <a:pt x="104184" y="20605"/>
                      <a:pt x="91497" y="8127"/>
                      <a:pt x="74000" y="2174"/>
                    </a:cubicBezTo>
                    <a:cubicBezTo>
                      <a:pt x="49663" y="-6170"/>
                      <a:pt x="0" y="12194"/>
                      <a:pt x="0" y="12194"/>
                    </a:cubicBezTo>
                    <a:cubicBezTo>
                      <a:pt x="0" y="12194"/>
                      <a:pt x="28127" y="57086"/>
                      <a:pt x="52435" y="6536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1" name="Freeform: Shape 55300">
                <a:extLst>
                  <a:ext uri="{FF2B5EF4-FFF2-40B4-BE49-F238E27FC236}">
                    <a16:creationId xmlns:a16="http://schemas.microsoft.com/office/drawing/2014/main" id="{243FCA0B-F917-4C74-B4C4-E166AFE4925F}"/>
                  </a:ext>
                </a:extLst>
              </p:cNvPr>
              <p:cNvSpPr/>
              <p:nvPr/>
            </p:nvSpPr>
            <p:spPr>
              <a:xfrm>
                <a:off x="9068616" y="97516"/>
                <a:ext cx="107649" cy="68732"/>
              </a:xfrm>
              <a:custGeom>
                <a:avLst/>
                <a:gdLst>
                  <a:gd name="connsiteX0" fmla="*/ 52416 w 107649"/>
                  <a:gd name="connsiteY0" fmla="*/ 65344 h 68732"/>
                  <a:gd name="connsiteX1" fmla="*/ 100279 w 107649"/>
                  <a:gd name="connsiteY1" fmla="*/ 59333 h 68732"/>
                  <a:gd name="connsiteX2" fmla="*/ 68971 w 107649"/>
                  <a:gd name="connsiteY2" fmla="*/ 35673 h 68732"/>
                  <a:gd name="connsiteX3" fmla="*/ 107613 w 107649"/>
                  <a:gd name="connsiteY3" fmla="*/ 33635 h 68732"/>
                  <a:gd name="connsiteX4" fmla="*/ 74009 w 107649"/>
                  <a:gd name="connsiteY4" fmla="*/ 2164 h 68732"/>
                  <a:gd name="connsiteX5" fmla="*/ 0 w 107649"/>
                  <a:gd name="connsiteY5" fmla="*/ 12175 h 68732"/>
                  <a:gd name="connsiteX6" fmla="*/ 52416 w 107649"/>
                  <a:gd name="connsiteY6" fmla="*/ 65344 h 68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7649" h="68732">
                    <a:moveTo>
                      <a:pt x="52416" y="65344"/>
                    </a:moveTo>
                    <a:cubicBezTo>
                      <a:pt x="71076" y="71687"/>
                      <a:pt x="89754" y="68811"/>
                      <a:pt x="100279" y="59333"/>
                    </a:cubicBezTo>
                    <a:cubicBezTo>
                      <a:pt x="103442" y="56400"/>
                      <a:pt x="67599" y="39807"/>
                      <a:pt x="68971" y="35673"/>
                    </a:cubicBezTo>
                    <a:cubicBezTo>
                      <a:pt x="70599" y="30768"/>
                      <a:pt x="108985" y="38740"/>
                      <a:pt x="107613" y="33635"/>
                    </a:cubicBezTo>
                    <a:cubicBezTo>
                      <a:pt x="104108" y="20614"/>
                      <a:pt x="91459" y="8165"/>
                      <a:pt x="74009" y="2164"/>
                    </a:cubicBezTo>
                    <a:cubicBezTo>
                      <a:pt x="49673" y="-6151"/>
                      <a:pt x="0" y="12175"/>
                      <a:pt x="0" y="12175"/>
                    </a:cubicBezTo>
                    <a:cubicBezTo>
                      <a:pt x="0" y="12175"/>
                      <a:pt x="28051" y="57057"/>
                      <a:pt x="52416" y="653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2" name="Freeform: Shape 55301">
                <a:extLst>
                  <a:ext uri="{FF2B5EF4-FFF2-40B4-BE49-F238E27FC236}">
                    <a16:creationId xmlns:a16="http://schemas.microsoft.com/office/drawing/2014/main" id="{998DEF86-B424-4456-AD4A-50B0849E9CEF}"/>
                  </a:ext>
                </a:extLst>
              </p:cNvPr>
              <p:cNvSpPr/>
              <p:nvPr/>
            </p:nvSpPr>
            <p:spPr>
              <a:xfrm>
                <a:off x="9131586" y="362721"/>
                <a:ext cx="110314" cy="66782"/>
              </a:xfrm>
              <a:custGeom>
                <a:avLst/>
                <a:gdLst>
                  <a:gd name="connsiteX0" fmla="*/ 110233 w 110314"/>
                  <a:gd name="connsiteY0" fmla="*/ 45293 h 66782"/>
                  <a:gd name="connsiteX1" fmla="*/ 72961 w 110314"/>
                  <a:gd name="connsiteY1" fmla="*/ 33282 h 66782"/>
                  <a:gd name="connsiteX2" fmla="*/ 108737 w 110314"/>
                  <a:gd name="connsiteY2" fmla="*/ 18633 h 66782"/>
                  <a:gd name="connsiteX3" fmla="*/ 66561 w 110314"/>
                  <a:gd name="connsiteY3" fmla="*/ 2 h 66782"/>
                  <a:gd name="connsiteX4" fmla="*/ 0 w 110314"/>
                  <a:gd name="connsiteY4" fmla="*/ 33892 h 66782"/>
                  <a:gd name="connsiteX5" fmla="*/ 67018 w 110314"/>
                  <a:gd name="connsiteY5" fmla="*/ 66781 h 66782"/>
                  <a:gd name="connsiteX6" fmla="*/ 110233 w 110314"/>
                  <a:gd name="connsiteY6" fmla="*/ 45293 h 6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314" h="66782">
                    <a:moveTo>
                      <a:pt x="110233" y="45293"/>
                    </a:moveTo>
                    <a:cubicBezTo>
                      <a:pt x="112338" y="41426"/>
                      <a:pt x="72961" y="37645"/>
                      <a:pt x="72961" y="33282"/>
                    </a:cubicBezTo>
                    <a:cubicBezTo>
                      <a:pt x="72828" y="28100"/>
                      <a:pt x="111747" y="22900"/>
                      <a:pt x="108737" y="18633"/>
                    </a:cubicBezTo>
                    <a:cubicBezTo>
                      <a:pt x="101156" y="7488"/>
                      <a:pt x="85077" y="-132"/>
                      <a:pt x="66561" y="2"/>
                    </a:cubicBezTo>
                    <a:cubicBezTo>
                      <a:pt x="40862" y="164"/>
                      <a:pt x="0" y="33892"/>
                      <a:pt x="0" y="33892"/>
                    </a:cubicBezTo>
                    <a:cubicBezTo>
                      <a:pt x="0" y="33892"/>
                      <a:pt x="41319" y="66972"/>
                      <a:pt x="67018" y="66781"/>
                    </a:cubicBezTo>
                    <a:cubicBezTo>
                      <a:pt x="86782" y="66572"/>
                      <a:pt x="103470" y="57714"/>
                      <a:pt x="110233" y="4529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3" name="Freeform: Shape 55302">
                <a:extLst>
                  <a:ext uri="{FF2B5EF4-FFF2-40B4-BE49-F238E27FC236}">
                    <a16:creationId xmlns:a16="http://schemas.microsoft.com/office/drawing/2014/main" id="{14535421-2D2B-42B2-9CF0-E9E3F2A7B5F4}"/>
                  </a:ext>
                </a:extLst>
              </p:cNvPr>
              <p:cNvSpPr/>
              <p:nvPr/>
            </p:nvSpPr>
            <p:spPr>
              <a:xfrm>
                <a:off x="9076227" y="232876"/>
                <a:ext cx="110333" cy="66735"/>
              </a:xfrm>
              <a:custGeom>
                <a:avLst/>
                <a:gdLst>
                  <a:gd name="connsiteX0" fmla="*/ 110252 w 110333"/>
                  <a:gd name="connsiteY0" fmla="*/ 45255 h 66735"/>
                  <a:gd name="connsiteX1" fmla="*/ 72904 w 110333"/>
                  <a:gd name="connsiteY1" fmla="*/ 33311 h 66735"/>
                  <a:gd name="connsiteX2" fmla="*/ 108690 w 110333"/>
                  <a:gd name="connsiteY2" fmla="*/ 18661 h 66735"/>
                  <a:gd name="connsiteX3" fmla="*/ 66561 w 110333"/>
                  <a:gd name="connsiteY3" fmla="*/ 2 h 66735"/>
                  <a:gd name="connsiteX4" fmla="*/ 0 w 110333"/>
                  <a:gd name="connsiteY4" fmla="*/ 33892 h 66735"/>
                  <a:gd name="connsiteX5" fmla="*/ 67037 w 110333"/>
                  <a:gd name="connsiteY5" fmla="*/ 66734 h 66735"/>
                  <a:gd name="connsiteX6" fmla="*/ 110252 w 110333"/>
                  <a:gd name="connsiteY6" fmla="*/ 45255 h 66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0333" h="66735">
                    <a:moveTo>
                      <a:pt x="110252" y="45255"/>
                    </a:moveTo>
                    <a:cubicBezTo>
                      <a:pt x="112357" y="41464"/>
                      <a:pt x="72962" y="37625"/>
                      <a:pt x="72904" y="33311"/>
                    </a:cubicBezTo>
                    <a:cubicBezTo>
                      <a:pt x="72838" y="28120"/>
                      <a:pt x="111690" y="22928"/>
                      <a:pt x="108690" y="18661"/>
                    </a:cubicBezTo>
                    <a:cubicBezTo>
                      <a:pt x="101108" y="7450"/>
                      <a:pt x="85087" y="-132"/>
                      <a:pt x="66561" y="2"/>
                    </a:cubicBezTo>
                    <a:cubicBezTo>
                      <a:pt x="40862" y="183"/>
                      <a:pt x="0" y="33892"/>
                      <a:pt x="0" y="33892"/>
                    </a:cubicBezTo>
                    <a:cubicBezTo>
                      <a:pt x="0" y="33892"/>
                      <a:pt x="41329" y="66982"/>
                      <a:pt x="67037" y="66734"/>
                    </a:cubicBezTo>
                    <a:cubicBezTo>
                      <a:pt x="86725" y="66591"/>
                      <a:pt x="103480" y="57676"/>
                      <a:pt x="110252" y="452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4" name="Freeform: Shape 55303">
                <a:extLst>
                  <a:ext uri="{FF2B5EF4-FFF2-40B4-BE49-F238E27FC236}">
                    <a16:creationId xmlns:a16="http://schemas.microsoft.com/office/drawing/2014/main" id="{DE3968FF-1234-4A35-9696-58975ABE163D}"/>
                  </a:ext>
                </a:extLst>
              </p:cNvPr>
              <p:cNvSpPr/>
              <p:nvPr/>
            </p:nvSpPr>
            <p:spPr>
              <a:xfrm>
                <a:off x="9230657" y="16355"/>
                <a:ext cx="76195" cy="98095"/>
              </a:xfrm>
              <a:custGeom>
                <a:avLst/>
                <a:gdLst>
                  <a:gd name="connsiteX0" fmla="*/ 52329 w 76195"/>
                  <a:gd name="connsiteY0" fmla="*/ 97965 h 98095"/>
                  <a:gd name="connsiteX1" fmla="*/ 41633 w 76195"/>
                  <a:gd name="connsiteY1" fmla="*/ 60284 h 98095"/>
                  <a:gd name="connsiteX2" fmla="*/ 73646 w 76195"/>
                  <a:gd name="connsiteY2" fmla="*/ 81915 h 98095"/>
                  <a:gd name="connsiteX3" fmla="*/ 65769 w 76195"/>
                  <a:gd name="connsiteY3" fmla="*/ 36481 h 98095"/>
                  <a:gd name="connsiteX4" fmla="*/ 704 w 76195"/>
                  <a:gd name="connsiteY4" fmla="*/ 0 h 98095"/>
                  <a:gd name="connsiteX5" fmla="*/ 10562 w 76195"/>
                  <a:gd name="connsiteY5" fmla="*/ 73933 h 98095"/>
                  <a:gd name="connsiteX6" fmla="*/ 52329 w 76195"/>
                  <a:gd name="connsiteY6" fmla="*/ 97965 h 98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195" h="98095">
                    <a:moveTo>
                      <a:pt x="52329" y="97965"/>
                    </a:moveTo>
                    <a:cubicBezTo>
                      <a:pt x="56692" y="97593"/>
                      <a:pt x="38042" y="62751"/>
                      <a:pt x="41633" y="60284"/>
                    </a:cubicBezTo>
                    <a:cubicBezTo>
                      <a:pt x="45871" y="57302"/>
                      <a:pt x="71751" y="86820"/>
                      <a:pt x="73646" y="81915"/>
                    </a:cubicBezTo>
                    <a:cubicBezTo>
                      <a:pt x="78799" y="69399"/>
                      <a:pt x="76123" y="51835"/>
                      <a:pt x="65769" y="36481"/>
                    </a:cubicBezTo>
                    <a:cubicBezTo>
                      <a:pt x="51348" y="15230"/>
                      <a:pt x="704" y="0"/>
                      <a:pt x="704" y="0"/>
                    </a:cubicBezTo>
                    <a:cubicBezTo>
                      <a:pt x="704" y="0"/>
                      <a:pt x="-3925" y="52711"/>
                      <a:pt x="10562" y="73933"/>
                    </a:cubicBezTo>
                    <a:cubicBezTo>
                      <a:pt x="21544" y="90287"/>
                      <a:pt x="38232" y="99308"/>
                      <a:pt x="52329" y="979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5" name="Freeform: Shape 55304">
                <a:extLst>
                  <a:ext uri="{FF2B5EF4-FFF2-40B4-BE49-F238E27FC236}">
                    <a16:creationId xmlns:a16="http://schemas.microsoft.com/office/drawing/2014/main" id="{856ADE45-42F1-4088-AD73-3EFEDF0A3E29}"/>
                  </a:ext>
                </a:extLst>
              </p:cNvPr>
              <p:cNvSpPr/>
              <p:nvPr/>
            </p:nvSpPr>
            <p:spPr>
              <a:xfrm>
                <a:off x="9348051" y="16355"/>
                <a:ext cx="76149" cy="98095"/>
              </a:xfrm>
              <a:custGeom>
                <a:avLst/>
                <a:gdLst>
                  <a:gd name="connsiteX0" fmla="*/ 52311 w 76149"/>
                  <a:gd name="connsiteY0" fmla="*/ 97965 h 98095"/>
                  <a:gd name="connsiteX1" fmla="*/ 41634 w 76149"/>
                  <a:gd name="connsiteY1" fmla="*/ 60284 h 98095"/>
                  <a:gd name="connsiteX2" fmla="*/ 73638 w 76149"/>
                  <a:gd name="connsiteY2" fmla="*/ 81915 h 98095"/>
                  <a:gd name="connsiteX3" fmla="*/ 65770 w 76149"/>
                  <a:gd name="connsiteY3" fmla="*/ 36481 h 98095"/>
                  <a:gd name="connsiteX4" fmla="*/ 705 w 76149"/>
                  <a:gd name="connsiteY4" fmla="*/ 0 h 98095"/>
                  <a:gd name="connsiteX5" fmla="*/ 10544 w 76149"/>
                  <a:gd name="connsiteY5" fmla="*/ 73933 h 98095"/>
                  <a:gd name="connsiteX6" fmla="*/ 52311 w 76149"/>
                  <a:gd name="connsiteY6" fmla="*/ 97965 h 98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149" h="98095">
                    <a:moveTo>
                      <a:pt x="52311" y="97965"/>
                    </a:moveTo>
                    <a:cubicBezTo>
                      <a:pt x="56693" y="97593"/>
                      <a:pt x="38033" y="62751"/>
                      <a:pt x="41634" y="60284"/>
                    </a:cubicBezTo>
                    <a:cubicBezTo>
                      <a:pt x="45872" y="57302"/>
                      <a:pt x="71733" y="86820"/>
                      <a:pt x="73638" y="81915"/>
                    </a:cubicBezTo>
                    <a:cubicBezTo>
                      <a:pt x="78705" y="69399"/>
                      <a:pt x="76114" y="51835"/>
                      <a:pt x="65770" y="36481"/>
                    </a:cubicBezTo>
                    <a:cubicBezTo>
                      <a:pt x="51349" y="15230"/>
                      <a:pt x="705" y="0"/>
                      <a:pt x="705" y="0"/>
                    </a:cubicBezTo>
                    <a:cubicBezTo>
                      <a:pt x="705" y="0"/>
                      <a:pt x="-3924" y="52711"/>
                      <a:pt x="10544" y="73933"/>
                    </a:cubicBezTo>
                    <a:cubicBezTo>
                      <a:pt x="21546" y="90287"/>
                      <a:pt x="38233" y="99308"/>
                      <a:pt x="52311" y="979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6" name="Freeform: Shape 55305">
                <a:extLst>
                  <a:ext uri="{FF2B5EF4-FFF2-40B4-BE49-F238E27FC236}">
                    <a16:creationId xmlns:a16="http://schemas.microsoft.com/office/drawing/2014/main" id="{E385FE63-F0B1-460D-9778-BB83CB43D2A1}"/>
                  </a:ext>
                </a:extLst>
              </p:cNvPr>
              <p:cNvSpPr/>
              <p:nvPr/>
            </p:nvSpPr>
            <p:spPr>
              <a:xfrm>
                <a:off x="9512452" y="105509"/>
                <a:ext cx="89138" cy="145146"/>
              </a:xfrm>
              <a:custGeom>
                <a:avLst/>
                <a:gdLst>
                  <a:gd name="connsiteX0" fmla="*/ 1439 w 89138"/>
                  <a:gd name="connsiteY0" fmla="*/ 78781 h 145146"/>
                  <a:gd name="connsiteX1" fmla="*/ 18527 w 89138"/>
                  <a:gd name="connsiteY1" fmla="*/ 140294 h 145146"/>
                  <a:gd name="connsiteX2" fmla="*/ 43407 w 89138"/>
                  <a:gd name="connsiteY2" fmla="*/ 94793 h 145146"/>
                  <a:gd name="connsiteX3" fmla="*/ 53608 w 89138"/>
                  <a:gd name="connsiteY3" fmla="*/ 145037 h 145146"/>
                  <a:gd name="connsiteX4" fmla="*/ 88355 w 89138"/>
                  <a:gd name="connsiteY4" fmla="*/ 94907 h 145146"/>
                  <a:gd name="connsiteX5" fmla="*/ 61037 w 89138"/>
                  <a:gd name="connsiteY5" fmla="*/ 0 h 145146"/>
                  <a:gd name="connsiteX6" fmla="*/ 1439 w 89138"/>
                  <a:gd name="connsiteY6" fmla="*/ 78781 h 145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138" h="145146">
                    <a:moveTo>
                      <a:pt x="1439" y="78781"/>
                    </a:moveTo>
                    <a:cubicBezTo>
                      <a:pt x="-3333" y="104432"/>
                      <a:pt x="4116" y="128445"/>
                      <a:pt x="18527" y="140294"/>
                    </a:cubicBezTo>
                    <a:cubicBezTo>
                      <a:pt x="22975" y="143961"/>
                      <a:pt x="37806" y="93764"/>
                      <a:pt x="43407" y="94793"/>
                    </a:cubicBezTo>
                    <a:cubicBezTo>
                      <a:pt x="50122" y="96060"/>
                      <a:pt x="47188" y="147838"/>
                      <a:pt x="53608" y="145037"/>
                    </a:cubicBezTo>
                    <a:cubicBezTo>
                      <a:pt x="69943" y="137998"/>
                      <a:pt x="83831" y="119024"/>
                      <a:pt x="88355" y="94907"/>
                    </a:cubicBezTo>
                    <a:cubicBezTo>
                      <a:pt x="94642" y="61560"/>
                      <a:pt x="61037" y="0"/>
                      <a:pt x="61037" y="0"/>
                    </a:cubicBezTo>
                    <a:cubicBezTo>
                      <a:pt x="61037" y="0"/>
                      <a:pt x="7688" y="45368"/>
                      <a:pt x="1439" y="787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7" name="Freeform: Shape 55306">
                <a:extLst>
                  <a:ext uri="{FF2B5EF4-FFF2-40B4-BE49-F238E27FC236}">
                    <a16:creationId xmlns:a16="http://schemas.microsoft.com/office/drawing/2014/main" id="{806815CE-314A-45E4-9EE0-6ACDF93FCBEF}"/>
                  </a:ext>
                </a:extLst>
              </p:cNvPr>
              <p:cNvSpPr/>
              <p:nvPr/>
            </p:nvSpPr>
            <p:spPr>
              <a:xfrm>
                <a:off x="9356558" y="137952"/>
                <a:ext cx="102491" cy="128269"/>
              </a:xfrm>
              <a:custGeom>
                <a:avLst/>
                <a:gdLst>
                  <a:gd name="connsiteX0" fmla="*/ 15706 w 102491"/>
                  <a:gd name="connsiteY0" fmla="*/ 97565 h 128269"/>
                  <a:gd name="connsiteX1" fmla="*/ 71856 w 102491"/>
                  <a:gd name="connsiteY1" fmla="*/ 128006 h 128269"/>
                  <a:gd name="connsiteX2" fmla="*/ 56406 w 102491"/>
                  <a:gd name="connsiteY2" fmla="*/ 78476 h 128269"/>
                  <a:gd name="connsiteX3" fmla="*/ 99631 w 102491"/>
                  <a:gd name="connsiteY3" fmla="*/ 106004 h 128269"/>
                  <a:gd name="connsiteX4" fmla="*/ 87639 w 102491"/>
                  <a:gd name="connsiteY4" fmla="*/ 46225 h 128269"/>
                  <a:gd name="connsiteX5" fmla="*/ 428 w 102491"/>
                  <a:gd name="connsiteY5" fmla="*/ 0 h 128269"/>
                  <a:gd name="connsiteX6" fmla="*/ 15706 w 102491"/>
                  <a:gd name="connsiteY6" fmla="*/ 97565 h 128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491" h="128269">
                    <a:moveTo>
                      <a:pt x="15706" y="97565"/>
                    </a:moveTo>
                    <a:cubicBezTo>
                      <a:pt x="30898" y="118796"/>
                      <a:pt x="53320" y="130178"/>
                      <a:pt x="71856" y="128006"/>
                    </a:cubicBezTo>
                    <a:cubicBezTo>
                      <a:pt x="77523" y="127378"/>
                      <a:pt x="51691" y="81772"/>
                      <a:pt x="56406" y="78476"/>
                    </a:cubicBezTo>
                    <a:cubicBezTo>
                      <a:pt x="61931" y="74505"/>
                      <a:pt x="97154" y="112586"/>
                      <a:pt x="99631" y="106004"/>
                    </a:cubicBezTo>
                    <a:cubicBezTo>
                      <a:pt x="105908" y="89373"/>
                      <a:pt x="101831" y="66218"/>
                      <a:pt x="87639" y="46225"/>
                    </a:cubicBezTo>
                    <a:cubicBezTo>
                      <a:pt x="67951" y="18602"/>
                      <a:pt x="428" y="0"/>
                      <a:pt x="428" y="0"/>
                    </a:cubicBezTo>
                    <a:cubicBezTo>
                      <a:pt x="428" y="0"/>
                      <a:pt x="-4011" y="69885"/>
                      <a:pt x="15706" y="9756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8" name="Freeform: Shape 55307">
                <a:extLst>
                  <a:ext uri="{FF2B5EF4-FFF2-40B4-BE49-F238E27FC236}">
                    <a16:creationId xmlns:a16="http://schemas.microsoft.com/office/drawing/2014/main" id="{488248D0-D020-4052-B332-C5EB45DCFFF9}"/>
                  </a:ext>
                </a:extLst>
              </p:cNvPr>
              <p:cNvSpPr/>
              <p:nvPr/>
            </p:nvSpPr>
            <p:spPr>
              <a:xfrm>
                <a:off x="9198547" y="258292"/>
                <a:ext cx="187620" cy="114409"/>
              </a:xfrm>
              <a:custGeom>
                <a:avLst/>
                <a:gdLst>
                  <a:gd name="connsiteX0" fmla="*/ 106928 w 187620"/>
                  <a:gd name="connsiteY0" fmla="*/ 113718 h 114409"/>
                  <a:gd name="connsiteX1" fmla="*/ 184566 w 187620"/>
                  <a:gd name="connsiteY1" fmla="*/ 86076 h 114409"/>
                  <a:gd name="connsiteX2" fmla="*/ 123673 w 187620"/>
                  <a:gd name="connsiteY2" fmla="*/ 58168 h 114409"/>
                  <a:gd name="connsiteX3" fmla="*/ 187433 w 187620"/>
                  <a:gd name="connsiteY3" fmla="*/ 40442 h 114409"/>
                  <a:gd name="connsiteX4" fmla="*/ 119634 w 187620"/>
                  <a:gd name="connsiteY4" fmla="*/ 351 h 114409"/>
                  <a:gd name="connsiteX5" fmla="*/ 0 w 187620"/>
                  <a:gd name="connsiteY5" fmla="*/ 44290 h 114409"/>
                  <a:gd name="connsiteX6" fmla="*/ 106928 w 187620"/>
                  <a:gd name="connsiteY6" fmla="*/ 113718 h 114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7620" h="114409">
                    <a:moveTo>
                      <a:pt x="106928" y="113718"/>
                    </a:moveTo>
                    <a:cubicBezTo>
                      <a:pt x="140370" y="117452"/>
                      <a:pt x="170688" y="105764"/>
                      <a:pt x="184566" y="86076"/>
                    </a:cubicBezTo>
                    <a:cubicBezTo>
                      <a:pt x="188938" y="80056"/>
                      <a:pt x="122882" y="65502"/>
                      <a:pt x="123673" y="58168"/>
                    </a:cubicBezTo>
                    <a:cubicBezTo>
                      <a:pt x="124635" y="49348"/>
                      <a:pt x="191605" y="48452"/>
                      <a:pt x="187433" y="40442"/>
                    </a:cubicBezTo>
                    <a:cubicBezTo>
                      <a:pt x="176889" y="20077"/>
                      <a:pt x="151124" y="3933"/>
                      <a:pt x="119634" y="351"/>
                    </a:cubicBezTo>
                    <a:cubicBezTo>
                      <a:pt x="76152" y="-4592"/>
                      <a:pt x="0" y="44290"/>
                      <a:pt x="0" y="44290"/>
                    </a:cubicBezTo>
                    <a:cubicBezTo>
                      <a:pt x="0" y="44290"/>
                      <a:pt x="63360" y="108793"/>
                      <a:pt x="106928" y="11371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09" name="Freeform: Shape 55308">
                <a:extLst>
                  <a:ext uri="{FF2B5EF4-FFF2-40B4-BE49-F238E27FC236}">
                    <a16:creationId xmlns:a16="http://schemas.microsoft.com/office/drawing/2014/main" id="{C62EE43B-67F3-46A1-86A0-DD5F213C73DA}"/>
                  </a:ext>
                </a:extLst>
              </p:cNvPr>
              <p:cNvSpPr/>
              <p:nvPr/>
            </p:nvSpPr>
            <p:spPr>
              <a:xfrm>
                <a:off x="9258659" y="396335"/>
                <a:ext cx="127520" cy="77782"/>
              </a:xfrm>
              <a:custGeom>
                <a:avLst/>
                <a:gdLst>
                  <a:gd name="connsiteX0" fmla="*/ 127397 w 127520"/>
                  <a:gd name="connsiteY0" fmla="*/ 27481 h 77782"/>
                  <a:gd name="connsiteX1" fmla="*/ 81372 w 127520"/>
                  <a:gd name="connsiteY1" fmla="*/ 240 h 77782"/>
                  <a:gd name="connsiteX2" fmla="*/ 0 w 127520"/>
                  <a:gd name="connsiteY2" fmla="*/ 30167 h 77782"/>
                  <a:gd name="connsiteX3" fmla="*/ 72695 w 127520"/>
                  <a:gd name="connsiteY3" fmla="*/ 77297 h 77782"/>
                  <a:gd name="connsiteX4" fmla="*/ 125435 w 127520"/>
                  <a:gd name="connsiteY4" fmla="*/ 58514 h 77782"/>
                  <a:gd name="connsiteX5" fmla="*/ 84039 w 127520"/>
                  <a:gd name="connsiteY5" fmla="*/ 39549 h 77782"/>
                  <a:gd name="connsiteX6" fmla="*/ 127397 w 127520"/>
                  <a:gd name="connsiteY6" fmla="*/ 27481 h 7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7520" h="77782">
                    <a:moveTo>
                      <a:pt x="127397" y="27481"/>
                    </a:moveTo>
                    <a:cubicBezTo>
                      <a:pt x="120234" y="13613"/>
                      <a:pt x="102756" y="2697"/>
                      <a:pt x="81372" y="240"/>
                    </a:cubicBezTo>
                    <a:cubicBezTo>
                      <a:pt x="51759" y="-3132"/>
                      <a:pt x="0" y="30167"/>
                      <a:pt x="0" y="30167"/>
                    </a:cubicBezTo>
                    <a:cubicBezTo>
                      <a:pt x="0" y="30167"/>
                      <a:pt x="43015" y="73982"/>
                      <a:pt x="72695" y="77297"/>
                    </a:cubicBezTo>
                    <a:cubicBezTo>
                      <a:pt x="95393" y="79878"/>
                      <a:pt x="115976" y="71944"/>
                      <a:pt x="125435" y="58514"/>
                    </a:cubicBezTo>
                    <a:cubicBezTo>
                      <a:pt x="128368" y="54437"/>
                      <a:pt x="83515" y="44502"/>
                      <a:pt x="84039" y="39549"/>
                    </a:cubicBezTo>
                    <a:cubicBezTo>
                      <a:pt x="84658" y="33587"/>
                      <a:pt x="130197" y="32958"/>
                      <a:pt x="127397" y="274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55310" name="Group 55309">
              <a:extLst>
                <a:ext uri="{FF2B5EF4-FFF2-40B4-BE49-F238E27FC236}">
                  <a16:creationId xmlns:a16="http://schemas.microsoft.com/office/drawing/2014/main" id="{D78C459F-9EF6-43B9-BF2F-49493F0F1967}"/>
                </a:ext>
              </a:extLst>
            </p:cNvPr>
            <p:cNvGrpSpPr/>
            <p:nvPr/>
          </p:nvGrpSpPr>
          <p:grpSpPr>
            <a:xfrm>
              <a:off x="868841" y="1894717"/>
              <a:ext cx="548312" cy="265533"/>
              <a:chOff x="5165786" y="-1303968"/>
              <a:chExt cx="1431619" cy="693296"/>
            </a:xfrm>
          </p:grpSpPr>
          <p:sp>
            <p:nvSpPr>
              <p:cNvPr id="110" name="Freeform 55">
                <a:extLst>
                  <a:ext uri="{FF2B5EF4-FFF2-40B4-BE49-F238E27FC236}">
                    <a16:creationId xmlns:a16="http://schemas.microsoft.com/office/drawing/2014/main" id="{C82D60C5-5241-460F-9A00-285EE3FFA2BF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664593" y="-830401"/>
                <a:ext cx="213106" cy="41284"/>
              </a:xfrm>
              <a:custGeom>
                <a:avLst/>
                <a:gdLst>
                  <a:gd name="T0" fmla="*/ 234 w 234"/>
                  <a:gd name="T1" fmla="*/ 0 h 48"/>
                  <a:gd name="T2" fmla="*/ 234 w 234"/>
                  <a:gd name="T3" fmla="*/ 0 h 48"/>
                  <a:gd name="T4" fmla="*/ 222 w 234"/>
                  <a:gd name="T5" fmla="*/ 12 h 48"/>
                  <a:gd name="T6" fmla="*/ 208 w 234"/>
                  <a:gd name="T7" fmla="*/ 22 h 48"/>
                  <a:gd name="T8" fmla="*/ 194 w 234"/>
                  <a:gd name="T9" fmla="*/ 30 h 48"/>
                  <a:gd name="T10" fmla="*/ 180 w 234"/>
                  <a:gd name="T11" fmla="*/ 36 h 48"/>
                  <a:gd name="T12" fmla="*/ 164 w 234"/>
                  <a:gd name="T13" fmla="*/ 42 h 48"/>
                  <a:gd name="T14" fmla="*/ 150 w 234"/>
                  <a:gd name="T15" fmla="*/ 46 h 48"/>
                  <a:gd name="T16" fmla="*/ 134 w 234"/>
                  <a:gd name="T17" fmla="*/ 48 h 48"/>
                  <a:gd name="T18" fmla="*/ 118 w 234"/>
                  <a:gd name="T19" fmla="*/ 48 h 48"/>
                  <a:gd name="T20" fmla="*/ 102 w 234"/>
                  <a:gd name="T21" fmla="*/ 48 h 48"/>
                  <a:gd name="T22" fmla="*/ 86 w 234"/>
                  <a:gd name="T23" fmla="*/ 46 h 48"/>
                  <a:gd name="T24" fmla="*/ 70 w 234"/>
                  <a:gd name="T25" fmla="*/ 42 h 48"/>
                  <a:gd name="T26" fmla="*/ 56 w 234"/>
                  <a:gd name="T27" fmla="*/ 36 h 48"/>
                  <a:gd name="T28" fmla="*/ 40 w 234"/>
                  <a:gd name="T29" fmla="*/ 30 h 48"/>
                  <a:gd name="T30" fmla="*/ 26 w 234"/>
                  <a:gd name="T31" fmla="*/ 20 h 48"/>
                  <a:gd name="T32" fmla="*/ 14 w 234"/>
                  <a:gd name="T33" fmla="*/ 10 h 48"/>
                  <a:gd name="T34" fmla="*/ 0 w 234"/>
                  <a:gd name="T3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4" h="48">
                    <a:moveTo>
                      <a:pt x="234" y="0"/>
                    </a:moveTo>
                    <a:lnTo>
                      <a:pt x="234" y="0"/>
                    </a:lnTo>
                    <a:lnTo>
                      <a:pt x="222" y="12"/>
                    </a:lnTo>
                    <a:lnTo>
                      <a:pt x="208" y="22"/>
                    </a:lnTo>
                    <a:lnTo>
                      <a:pt x="194" y="30"/>
                    </a:lnTo>
                    <a:lnTo>
                      <a:pt x="180" y="36"/>
                    </a:lnTo>
                    <a:lnTo>
                      <a:pt x="164" y="42"/>
                    </a:lnTo>
                    <a:lnTo>
                      <a:pt x="150" y="46"/>
                    </a:lnTo>
                    <a:lnTo>
                      <a:pt x="134" y="48"/>
                    </a:lnTo>
                    <a:lnTo>
                      <a:pt x="118" y="48"/>
                    </a:lnTo>
                    <a:lnTo>
                      <a:pt x="102" y="48"/>
                    </a:lnTo>
                    <a:lnTo>
                      <a:pt x="86" y="46"/>
                    </a:lnTo>
                    <a:lnTo>
                      <a:pt x="70" y="42"/>
                    </a:lnTo>
                    <a:lnTo>
                      <a:pt x="56" y="36"/>
                    </a:lnTo>
                    <a:lnTo>
                      <a:pt x="40" y="30"/>
                    </a:lnTo>
                    <a:lnTo>
                      <a:pt x="26" y="20"/>
                    </a:lnTo>
                    <a:lnTo>
                      <a:pt x="14" y="1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11" name="Freeform 56">
                <a:extLst>
                  <a:ext uri="{FF2B5EF4-FFF2-40B4-BE49-F238E27FC236}">
                    <a16:creationId xmlns:a16="http://schemas.microsoft.com/office/drawing/2014/main" id="{14276EBD-709A-46B3-A148-B843AB458A0E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563940" y="-770551"/>
                <a:ext cx="355176" cy="70528"/>
              </a:xfrm>
              <a:custGeom>
                <a:avLst/>
                <a:gdLst>
                  <a:gd name="T0" fmla="*/ 390 w 390"/>
                  <a:gd name="T1" fmla="*/ 4 h 82"/>
                  <a:gd name="T2" fmla="*/ 390 w 390"/>
                  <a:gd name="T3" fmla="*/ 4 h 82"/>
                  <a:gd name="T4" fmla="*/ 370 w 390"/>
                  <a:gd name="T5" fmla="*/ 22 h 82"/>
                  <a:gd name="T6" fmla="*/ 348 w 390"/>
                  <a:gd name="T7" fmla="*/ 38 h 82"/>
                  <a:gd name="T8" fmla="*/ 324 w 390"/>
                  <a:gd name="T9" fmla="*/ 52 h 82"/>
                  <a:gd name="T10" fmla="*/ 300 w 390"/>
                  <a:gd name="T11" fmla="*/ 64 h 82"/>
                  <a:gd name="T12" fmla="*/ 274 w 390"/>
                  <a:gd name="T13" fmla="*/ 72 h 82"/>
                  <a:gd name="T14" fmla="*/ 248 w 390"/>
                  <a:gd name="T15" fmla="*/ 78 h 82"/>
                  <a:gd name="T16" fmla="*/ 222 w 390"/>
                  <a:gd name="T17" fmla="*/ 82 h 82"/>
                  <a:gd name="T18" fmla="*/ 196 w 390"/>
                  <a:gd name="T19" fmla="*/ 82 h 82"/>
                  <a:gd name="T20" fmla="*/ 168 w 390"/>
                  <a:gd name="T21" fmla="*/ 82 h 82"/>
                  <a:gd name="T22" fmla="*/ 142 w 390"/>
                  <a:gd name="T23" fmla="*/ 78 h 82"/>
                  <a:gd name="T24" fmla="*/ 116 w 390"/>
                  <a:gd name="T25" fmla="*/ 70 h 82"/>
                  <a:gd name="T26" fmla="*/ 92 w 390"/>
                  <a:gd name="T27" fmla="*/ 62 h 82"/>
                  <a:gd name="T28" fmla="*/ 68 w 390"/>
                  <a:gd name="T29" fmla="*/ 50 h 82"/>
                  <a:gd name="T30" fmla="*/ 44 w 390"/>
                  <a:gd name="T31" fmla="*/ 36 h 82"/>
                  <a:gd name="T32" fmla="*/ 22 w 390"/>
                  <a:gd name="T33" fmla="*/ 20 h 82"/>
                  <a:gd name="T34" fmla="*/ 0 w 390"/>
                  <a:gd name="T35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0" h="82">
                    <a:moveTo>
                      <a:pt x="390" y="4"/>
                    </a:moveTo>
                    <a:lnTo>
                      <a:pt x="390" y="4"/>
                    </a:lnTo>
                    <a:lnTo>
                      <a:pt x="370" y="22"/>
                    </a:lnTo>
                    <a:lnTo>
                      <a:pt x="348" y="38"/>
                    </a:lnTo>
                    <a:lnTo>
                      <a:pt x="324" y="52"/>
                    </a:lnTo>
                    <a:lnTo>
                      <a:pt x="300" y="64"/>
                    </a:lnTo>
                    <a:lnTo>
                      <a:pt x="274" y="72"/>
                    </a:lnTo>
                    <a:lnTo>
                      <a:pt x="248" y="78"/>
                    </a:lnTo>
                    <a:lnTo>
                      <a:pt x="222" y="82"/>
                    </a:lnTo>
                    <a:lnTo>
                      <a:pt x="196" y="82"/>
                    </a:lnTo>
                    <a:lnTo>
                      <a:pt x="168" y="82"/>
                    </a:lnTo>
                    <a:lnTo>
                      <a:pt x="142" y="78"/>
                    </a:lnTo>
                    <a:lnTo>
                      <a:pt x="116" y="70"/>
                    </a:lnTo>
                    <a:lnTo>
                      <a:pt x="92" y="62"/>
                    </a:lnTo>
                    <a:lnTo>
                      <a:pt x="68" y="50"/>
                    </a:lnTo>
                    <a:lnTo>
                      <a:pt x="44" y="36"/>
                    </a:lnTo>
                    <a:lnTo>
                      <a:pt x="22" y="2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12" name="Freeform 57">
                <a:extLst>
                  <a:ext uri="{FF2B5EF4-FFF2-40B4-BE49-F238E27FC236}">
                    <a16:creationId xmlns:a16="http://schemas.microsoft.com/office/drawing/2014/main" id="{57D82109-27D4-4592-820B-18A3302A16F2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464734" y="-708723"/>
                <a:ext cx="495426" cy="98051"/>
              </a:xfrm>
              <a:custGeom>
                <a:avLst/>
                <a:gdLst>
                  <a:gd name="T0" fmla="*/ 544 w 544"/>
                  <a:gd name="T1" fmla="*/ 4 h 114"/>
                  <a:gd name="T2" fmla="*/ 544 w 544"/>
                  <a:gd name="T3" fmla="*/ 4 h 114"/>
                  <a:gd name="T4" fmla="*/ 516 w 544"/>
                  <a:gd name="T5" fmla="*/ 30 h 114"/>
                  <a:gd name="T6" fmla="*/ 484 w 544"/>
                  <a:gd name="T7" fmla="*/ 52 h 114"/>
                  <a:gd name="T8" fmla="*/ 450 w 544"/>
                  <a:gd name="T9" fmla="*/ 72 h 114"/>
                  <a:gd name="T10" fmla="*/ 416 w 544"/>
                  <a:gd name="T11" fmla="*/ 88 h 114"/>
                  <a:gd name="T12" fmla="*/ 382 w 544"/>
                  <a:gd name="T13" fmla="*/ 100 h 114"/>
                  <a:gd name="T14" fmla="*/ 344 w 544"/>
                  <a:gd name="T15" fmla="*/ 108 h 114"/>
                  <a:gd name="T16" fmla="*/ 308 w 544"/>
                  <a:gd name="T17" fmla="*/ 114 h 114"/>
                  <a:gd name="T18" fmla="*/ 272 w 544"/>
                  <a:gd name="T19" fmla="*/ 114 h 114"/>
                  <a:gd name="T20" fmla="*/ 234 w 544"/>
                  <a:gd name="T21" fmla="*/ 112 h 114"/>
                  <a:gd name="T22" fmla="*/ 198 w 544"/>
                  <a:gd name="T23" fmla="*/ 108 h 114"/>
                  <a:gd name="T24" fmla="*/ 162 w 544"/>
                  <a:gd name="T25" fmla="*/ 98 h 114"/>
                  <a:gd name="T26" fmla="*/ 126 w 544"/>
                  <a:gd name="T27" fmla="*/ 86 h 114"/>
                  <a:gd name="T28" fmla="*/ 92 w 544"/>
                  <a:gd name="T29" fmla="*/ 70 h 114"/>
                  <a:gd name="T30" fmla="*/ 60 w 544"/>
                  <a:gd name="T31" fmla="*/ 50 h 114"/>
                  <a:gd name="T32" fmla="*/ 28 w 544"/>
                  <a:gd name="T33" fmla="*/ 26 h 114"/>
                  <a:gd name="T34" fmla="*/ 0 w 544"/>
                  <a:gd name="T3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4" h="114">
                    <a:moveTo>
                      <a:pt x="544" y="4"/>
                    </a:moveTo>
                    <a:lnTo>
                      <a:pt x="544" y="4"/>
                    </a:lnTo>
                    <a:lnTo>
                      <a:pt x="516" y="30"/>
                    </a:lnTo>
                    <a:lnTo>
                      <a:pt x="484" y="52"/>
                    </a:lnTo>
                    <a:lnTo>
                      <a:pt x="450" y="72"/>
                    </a:lnTo>
                    <a:lnTo>
                      <a:pt x="416" y="88"/>
                    </a:lnTo>
                    <a:lnTo>
                      <a:pt x="382" y="100"/>
                    </a:lnTo>
                    <a:lnTo>
                      <a:pt x="344" y="108"/>
                    </a:lnTo>
                    <a:lnTo>
                      <a:pt x="308" y="114"/>
                    </a:lnTo>
                    <a:lnTo>
                      <a:pt x="272" y="114"/>
                    </a:lnTo>
                    <a:lnTo>
                      <a:pt x="234" y="112"/>
                    </a:lnTo>
                    <a:lnTo>
                      <a:pt x="198" y="108"/>
                    </a:lnTo>
                    <a:lnTo>
                      <a:pt x="162" y="98"/>
                    </a:lnTo>
                    <a:lnTo>
                      <a:pt x="126" y="86"/>
                    </a:lnTo>
                    <a:lnTo>
                      <a:pt x="92" y="70"/>
                    </a:lnTo>
                    <a:lnTo>
                      <a:pt x="60" y="50"/>
                    </a:lnTo>
                    <a:lnTo>
                      <a:pt x="28" y="26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13" name="Freeform 59">
                <a:extLst>
                  <a:ext uri="{FF2B5EF4-FFF2-40B4-BE49-F238E27FC236}">
                    <a16:creationId xmlns:a16="http://schemas.microsoft.com/office/drawing/2014/main" id="{25A25773-1223-4677-BCA6-892097301846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6043694" y="-978076"/>
                <a:ext cx="553711" cy="185780"/>
              </a:xfrm>
              <a:custGeom>
                <a:avLst/>
                <a:gdLst>
                  <a:gd name="T0" fmla="*/ 556 w 608"/>
                  <a:gd name="T1" fmla="*/ 216 h 216"/>
                  <a:gd name="T2" fmla="*/ 50 w 608"/>
                  <a:gd name="T3" fmla="*/ 216 h 216"/>
                  <a:gd name="T4" fmla="*/ 50 w 608"/>
                  <a:gd name="T5" fmla="*/ 216 h 216"/>
                  <a:gd name="T6" fmla="*/ 40 w 608"/>
                  <a:gd name="T7" fmla="*/ 214 h 216"/>
                  <a:gd name="T8" fmla="*/ 30 w 608"/>
                  <a:gd name="T9" fmla="*/ 212 h 216"/>
                  <a:gd name="T10" fmla="*/ 22 w 608"/>
                  <a:gd name="T11" fmla="*/ 208 h 216"/>
                  <a:gd name="T12" fmla="*/ 14 w 608"/>
                  <a:gd name="T13" fmla="*/ 202 h 216"/>
                  <a:gd name="T14" fmla="*/ 8 w 608"/>
                  <a:gd name="T15" fmla="*/ 194 h 216"/>
                  <a:gd name="T16" fmla="*/ 4 w 608"/>
                  <a:gd name="T17" fmla="*/ 184 h 216"/>
                  <a:gd name="T18" fmla="*/ 0 w 608"/>
                  <a:gd name="T19" fmla="*/ 176 h 216"/>
                  <a:gd name="T20" fmla="*/ 0 w 608"/>
                  <a:gd name="T21" fmla="*/ 166 h 216"/>
                  <a:gd name="T22" fmla="*/ 0 w 608"/>
                  <a:gd name="T23" fmla="*/ 50 h 216"/>
                  <a:gd name="T24" fmla="*/ 0 w 608"/>
                  <a:gd name="T25" fmla="*/ 50 h 216"/>
                  <a:gd name="T26" fmla="*/ 0 w 608"/>
                  <a:gd name="T27" fmla="*/ 40 h 216"/>
                  <a:gd name="T28" fmla="*/ 4 w 608"/>
                  <a:gd name="T29" fmla="*/ 30 h 216"/>
                  <a:gd name="T30" fmla="*/ 8 w 608"/>
                  <a:gd name="T31" fmla="*/ 22 h 216"/>
                  <a:gd name="T32" fmla="*/ 14 w 608"/>
                  <a:gd name="T33" fmla="*/ 14 h 216"/>
                  <a:gd name="T34" fmla="*/ 22 w 608"/>
                  <a:gd name="T35" fmla="*/ 8 h 216"/>
                  <a:gd name="T36" fmla="*/ 30 w 608"/>
                  <a:gd name="T37" fmla="*/ 4 h 216"/>
                  <a:gd name="T38" fmla="*/ 40 w 608"/>
                  <a:gd name="T39" fmla="*/ 0 h 216"/>
                  <a:gd name="T40" fmla="*/ 50 w 608"/>
                  <a:gd name="T41" fmla="*/ 0 h 216"/>
                  <a:gd name="T42" fmla="*/ 556 w 608"/>
                  <a:gd name="T43" fmla="*/ 0 h 216"/>
                  <a:gd name="T44" fmla="*/ 556 w 608"/>
                  <a:gd name="T45" fmla="*/ 0 h 216"/>
                  <a:gd name="T46" fmla="*/ 568 w 608"/>
                  <a:gd name="T47" fmla="*/ 0 h 216"/>
                  <a:gd name="T48" fmla="*/ 576 w 608"/>
                  <a:gd name="T49" fmla="*/ 4 h 216"/>
                  <a:gd name="T50" fmla="*/ 586 w 608"/>
                  <a:gd name="T51" fmla="*/ 8 h 216"/>
                  <a:gd name="T52" fmla="*/ 592 w 608"/>
                  <a:gd name="T53" fmla="*/ 14 h 216"/>
                  <a:gd name="T54" fmla="*/ 598 w 608"/>
                  <a:gd name="T55" fmla="*/ 22 h 216"/>
                  <a:gd name="T56" fmla="*/ 604 w 608"/>
                  <a:gd name="T57" fmla="*/ 30 h 216"/>
                  <a:gd name="T58" fmla="*/ 606 w 608"/>
                  <a:gd name="T59" fmla="*/ 40 h 216"/>
                  <a:gd name="T60" fmla="*/ 608 w 608"/>
                  <a:gd name="T61" fmla="*/ 50 h 216"/>
                  <a:gd name="T62" fmla="*/ 608 w 608"/>
                  <a:gd name="T63" fmla="*/ 166 h 216"/>
                  <a:gd name="T64" fmla="*/ 608 w 608"/>
                  <a:gd name="T65" fmla="*/ 166 h 216"/>
                  <a:gd name="T66" fmla="*/ 606 w 608"/>
                  <a:gd name="T67" fmla="*/ 176 h 216"/>
                  <a:gd name="T68" fmla="*/ 604 w 608"/>
                  <a:gd name="T69" fmla="*/ 184 h 216"/>
                  <a:gd name="T70" fmla="*/ 598 w 608"/>
                  <a:gd name="T71" fmla="*/ 194 h 216"/>
                  <a:gd name="T72" fmla="*/ 592 w 608"/>
                  <a:gd name="T73" fmla="*/ 202 h 216"/>
                  <a:gd name="T74" fmla="*/ 586 w 608"/>
                  <a:gd name="T75" fmla="*/ 208 h 216"/>
                  <a:gd name="T76" fmla="*/ 576 w 608"/>
                  <a:gd name="T77" fmla="*/ 212 h 216"/>
                  <a:gd name="T78" fmla="*/ 568 w 608"/>
                  <a:gd name="T79" fmla="*/ 214 h 216"/>
                  <a:gd name="T80" fmla="*/ 556 w 608"/>
                  <a:gd name="T81" fmla="*/ 216 h 216"/>
                  <a:gd name="T82" fmla="*/ 556 w 608"/>
                  <a:gd name="T8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56" y="216"/>
                    </a:moveTo>
                    <a:lnTo>
                      <a:pt x="50" y="216"/>
                    </a:lnTo>
                    <a:lnTo>
                      <a:pt x="50" y="216"/>
                    </a:lnTo>
                    <a:lnTo>
                      <a:pt x="40" y="214"/>
                    </a:lnTo>
                    <a:lnTo>
                      <a:pt x="30" y="212"/>
                    </a:lnTo>
                    <a:lnTo>
                      <a:pt x="22" y="208"/>
                    </a:lnTo>
                    <a:lnTo>
                      <a:pt x="14" y="202"/>
                    </a:lnTo>
                    <a:lnTo>
                      <a:pt x="8" y="194"/>
                    </a:lnTo>
                    <a:lnTo>
                      <a:pt x="4" y="184"/>
                    </a:lnTo>
                    <a:lnTo>
                      <a:pt x="0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0"/>
                    </a:lnTo>
                    <a:lnTo>
                      <a:pt x="4" y="30"/>
                    </a:lnTo>
                    <a:lnTo>
                      <a:pt x="8" y="22"/>
                    </a:lnTo>
                    <a:lnTo>
                      <a:pt x="14" y="14"/>
                    </a:lnTo>
                    <a:lnTo>
                      <a:pt x="22" y="8"/>
                    </a:lnTo>
                    <a:lnTo>
                      <a:pt x="30" y="4"/>
                    </a:lnTo>
                    <a:lnTo>
                      <a:pt x="40" y="0"/>
                    </a:lnTo>
                    <a:lnTo>
                      <a:pt x="50" y="0"/>
                    </a:lnTo>
                    <a:lnTo>
                      <a:pt x="556" y="0"/>
                    </a:lnTo>
                    <a:lnTo>
                      <a:pt x="556" y="0"/>
                    </a:lnTo>
                    <a:lnTo>
                      <a:pt x="568" y="0"/>
                    </a:lnTo>
                    <a:lnTo>
                      <a:pt x="576" y="4"/>
                    </a:lnTo>
                    <a:lnTo>
                      <a:pt x="586" y="8"/>
                    </a:lnTo>
                    <a:lnTo>
                      <a:pt x="592" y="14"/>
                    </a:lnTo>
                    <a:lnTo>
                      <a:pt x="598" y="22"/>
                    </a:lnTo>
                    <a:lnTo>
                      <a:pt x="604" y="30"/>
                    </a:lnTo>
                    <a:lnTo>
                      <a:pt x="606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6" y="176"/>
                    </a:lnTo>
                    <a:lnTo>
                      <a:pt x="604" y="184"/>
                    </a:lnTo>
                    <a:lnTo>
                      <a:pt x="598" y="194"/>
                    </a:lnTo>
                    <a:lnTo>
                      <a:pt x="592" y="202"/>
                    </a:lnTo>
                    <a:lnTo>
                      <a:pt x="586" y="208"/>
                    </a:lnTo>
                    <a:lnTo>
                      <a:pt x="576" y="212"/>
                    </a:lnTo>
                    <a:lnTo>
                      <a:pt x="568" y="214"/>
                    </a:lnTo>
                    <a:lnTo>
                      <a:pt x="556" y="216"/>
                    </a:lnTo>
                    <a:lnTo>
                      <a:pt x="556" y="216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14" name="Line 60">
                <a:extLst>
                  <a:ext uri="{FF2B5EF4-FFF2-40B4-BE49-F238E27FC236}">
                    <a16:creationId xmlns:a16="http://schemas.microsoft.com/office/drawing/2014/main" id="{FBB9BDCD-82B3-4DCF-868D-B7FE94D5B3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>
                <a:off x="5969692" y="-1045932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15" name="Line 61">
                <a:extLst>
                  <a:ext uri="{FF2B5EF4-FFF2-40B4-BE49-F238E27FC236}">
                    <a16:creationId xmlns:a16="http://schemas.microsoft.com/office/drawing/2014/main" id="{BFBF3F15-DC60-4C8B-92D5-5709842AC4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>
                <a:off x="5947718" y="-989818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16" name="Freeform 62">
                <a:extLst>
                  <a:ext uri="{FF2B5EF4-FFF2-40B4-BE49-F238E27FC236}">
                    <a16:creationId xmlns:a16="http://schemas.microsoft.com/office/drawing/2014/main" id="{94FD4ACA-9C49-4A49-8E9E-78C0D13E9824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802306" y="-1123505"/>
                <a:ext cx="160285" cy="151376"/>
              </a:xfrm>
              <a:custGeom>
                <a:avLst/>
                <a:gdLst>
                  <a:gd name="T0" fmla="*/ 0 w 176"/>
                  <a:gd name="T1" fmla="*/ 88 h 176"/>
                  <a:gd name="T2" fmla="*/ 0 w 176"/>
                  <a:gd name="T3" fmla="*/ 88 h 176"/>
                  <a:gd name="T4" fmla="*/ 0 w 176"/>
                  <a:gd name="T5" fmla="*/ 70 h 176"/>
                  <a:gd name="T6" fmla="*/ 6 w 176"/>
                  <a:gd name="T7" fmla="*/ 54 h 176"/>
                  <a:gd name="T8" fmla="*/ 14 w 176"/>
                  <a:gd name="T9" fmla="*/ 38 h 176"/>
                  <a:gd name="T10" fmla="*/ 24 w 176"/>
                  <a:gd name="T11" fmla="*/ 26 h 176"/>
                  <a:gd name="T12" fmla="*/ 38 w 176"/>
                  <a:gd name="T13" fmla="*/ 14 h 176"/>
                  <a:gd name="T14" fmla="*/ 52 w 176"/>
                  <a:gd name="T15" fmla="*/ 6 h 176"/>
                  <a:gd name="T16" fmla="*/ 70 w 176"/>
                  <a:gd name="T17" fmla="*/ 2 h 176"/>
                  <a:gd name="T18" fmla="*/ 88 w 176"/>
                  <a:gd name="T19" fmla="*/ 0 h 176"/>
                  <a:gd name="T20" fmla="*/ 88 w 176"/>
                  <a:gd name="T21" fmla="*/ 0 h 176"/>
                  <a:gd name="T22" fmla="*/ 104 w 176"/>
                  <a:gd name="T23" fmla="*/ 2 h 176"/>
                  <a:gd name="T24" fmla="*/ 122 w 176"/>
                  <a:gd name="T25" fmla="*/ 6 h 176"/>
                  <a:gd name="T26" fmla="*/ 136 w 176"/>
                  <a:gd name="T27" fmla="*/ 14 h 176"/>
                  <a:gd name="T28" fmla="*/ 150 w 176"/>
                  <a:gd name="T29" fmla="*/ 26 h 176"/>
                  <a:gd name="T30" fmla="*/ 160 w 176"/>
                  <a:gd name="T31" fmla="*/ 38 h 176"/>
                  <a:gd name="T32" fmla="*/ 168 w 176"/>
                  <a:gd name="T33" fmla="*/ 54 h 176"/>
                  <a:gd name="T34" fmla="*/ 174 w 176"/>
                  <a:gd name="T35" fmla="*/ 70 h 176"/>
                  <a:gd name="T36" fmla="*/ 176 w 176"/>
                  <a:gd name="T37" fmla="*/ 88 h 176"/>
                  <a:gd name="T38" fmla="*/ 176 w 176"/>
                  <a:gd name="T39" fmla="*/ 88 h 176"/>
                  <a:gd name="T40" fmla="*/ 174 w 176"/>
                  <a:gd name="T41" fmla="*/ 106 h 176"/>
                  <a:gd name="T42" fmla="*/ 168 w 176"/>
                  <a:gd name="T43" fmla="*/ 122 h 176"/>
                  <a:gd name="T44" fmla="*/ 160 w 176"/>
                  <a:gd name="T45" fmla="*/ 138 h 176"/>
                  <a:gd name="T46" fmla="*/ 150 w 176"/>
                  <a:gd name="T47" fmla="*/ 150 h 176"/>
                  <a:gd name="T48" fmla="*/ 136 w 176"/>
                  <a:gd name="T49" fmla="*/ 160 h 176"/>
                  <a:gd name="T50" fmla="*/ 122 w 176"/>
                  <a:gd name="T51" fmla="*/ 170 h 176"/>
                  <a:gd name="T52" fmla="*/ 104 w 176"/>
                  <a:gd name="T53" fmla="*/ 174 h 176"/>
                  <a:gd name="T54" fmla="*/ 88 w 176"/>
                  <a:gd name="T55" fmla="*/ 176 h 176"/>
                  <a:gd name="T56" fmla="*/ 88 w 176"/>
                  <a:gd name="T57" fmla="*/ 176 h 176"/>
                  <a:gd name="T58" fmla="*/ 70 w 176"/>
                  <a:gd name="T59" fmla="*/ 174 h 176"/>
                  <a:gd name="T60" fmla="*/ 52 w 176"/>
                  <a:gd name="T61" fmla="*/ 170 h 176"/>
                  <a:gd name="T62" fmla="*/ 38 w 176"/>
                  <a:gd name="T63" fmla="*/ 160 h 176"/>
                  <a:gd name="T64" fmla="*/ 24 w 176"/>
                  <a:gd name="T65" fmla="*/ 150 h 176"/>
                  <a:gd name="T66" fmla="*/ 14 w 176"/>
                  <a:gd name="T67" fmla="*/ 138 h 176"/>
                  <a:gd name="T68" fmla="*/ 6 w 176"/>
                  <a:gd name="T69" fmla="*/ 122 h 176"/>
                  <a:gd name="T70" fmla="*/ 0 w 176"/>
                  <a:gd name="T71" fmla="*/ 106 h 176"/>
                  <a:gd name="T72" fmla="*/ 0 w 176"/>
                  <a:gd name="T73" fmla="*/ 88 h 176"/>
                  <a:gd name="T74" fmla="*/ 0 w 176"/>
                  <a:gd name="T75" fmla="*/ 8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6" h="176">
                    <a:moveTo>
                      <a:pt x="0" y="88"/>
                    </a:moveTo>
                    <a:lnTo>
                      <a:pt x="0" y="88"/>
                    </a:lnTo>
                    <a:lnTo>
                      <a:pt x="0" y="70"/>
                    </a:lnTo>
                    <a:lnTo>
                      <a:pt x="6" y="54"/>
                    </a:lnTo>
                    <a:lnTo>
                      <a:pt x="14" y="38"/>
                    </a:lnTo>
                    <a:lnTo>
                      <a:pt x="24" y="26"/>
                    </a:lnTo>
                    <a:lnTo>
                      <a:pt x="38" y="14"/>
                    </a:lnTo>
                    <a:lnTo>
                      <a:pt x="52" y="6"/>
                    </a:lnTo>
                    <a:lnTo>
                      <a:pt x="70" y="2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104" y="2"/>
                    </a:lnTo>
                    <a:lnTo>
                      <a:pt x="122" y="6"/>
                    </a:lnTo>
                    <a:lnTo>
                      <a:pt x="136" y="14"/>
                    </a:lnTo>
                    <a:lnTo>
                      <a:pt x="150" y="26"/>
                    </a:lnTo>
                    <a:lnTo>
                      <a:pt x="160" y="38"/>
                    </a:lnTo>
                    <a:lnTo>
                      <a:pt x="168" y="54"/>
                    </a:lnTo>
                    <a:lnTo>
                      <a:pt x="174" y="70"/>
                    </a:lnTo>
                    <a:lnTo>
                      <a:pt x="176" y="88"/>
                    </a:lnTo>
                    <a:lnTo>
                      <a:pt x="176" y="88"/>
                    </a:lnTo>
                    <a:lnTo>
                      <a:pt x="174" y="106"/>
                    </a:lnTo>
                    <a:lnTo>
                      <a:pt x="168" y="122"/>
                    </a:lnTo>
                    <a:lnTo>
                      <a:pt x="160" y="138"/>
                    </a:lnTo>
                    <a:lnTo>
                      <a:pt x="150" y="150"/>
                    </a:lnTo>
                    <a:lnTo>
                      <a:pt x="136" y="160"/>
                    </a:lnTo>
                    <a:lnTo>
                      <a:pt x="122" y="170"/>
                    </a:lnTo>
                    <a:lnTo>
                      <a:pt x="104" y="174"/>
                    </a:lnTo>
                    <a:lnTo>
                      <a:pt x="88" y="176"/>
                    </a:lnTo>
                    <a:lnTo>
                      <a:pt x="88" y="176"/>
                    </a:lnTo>
                    <a:lnTo>
                      <a:pt x="70" y="174"/>
                    </a:lnTo>
                    <a:lnTo>
                      <a:pt x="52" y="170"/>
                    </a:lnTo>
                    <a:lnTo>
                      <a:pt x="38" y="160"/>
                    </a:lnTo>
                    <a:lnTo>
                      <a:pt x="24" y="150"/>
                    </a:lnTo>
                    <a:lnTo>
                      <a:pt x="14" y="138"/>
                    </a:lnTo>
                    <a:lnTo>
                      <a:pt x="6" y="122"/>
                    </a:lnTo>
                    <a:lnTo>
                      <a:pt x="0" y="106"/>
                    </a:lnTo>
                    <a:lnTo>
                      <a:pt x="0" y="88"/>
                    </a:lnTo>
                    <a:lnTo>
                      <a:pt x="0" y="88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17" name="Freeform 63">
                <a:extLst>
                  <a:ext uri="{FF2B5EF4-FFF2-40B4-BE49-F238E27FC236}">
                    <a16:creationId xmlns:a16="http://schemas.microsoft.com/office/drawing/2014/main" id="{75DC4937-F88C-48E2-8323-92A35FA02D36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165786" y="-1303968"/>
                <a:ext cx="553711" cy="185780"/>
              </a:xfrm>
              <a:custGeom>
                <a:avLst/>
                <a:gdLst>
                  <a:gd name="T0" fmla="*/ 52 w 608"/>
                  <a:gd name="T1" fmla="*/ 0 h 216"/>
                  <a:gd name="T2" fmla="*/ 558 w 608"/>
                  <a:gd name="T3" fmla="*/ 0 h 216"/>
                  <a:gd name="T4" fmla="*/ 558 w 608"/>
                  <a:gd name="T5" fmla="*/ 0 h 216"/>
                  <a:gd name="T6" fmla="*/ 568 w 608"/>
                  <a:gd name="T7" fmla="*/ 0 h 216"/>
                  <a:gd name="T8" fmla="*/ 578 w 608"/>
                  <a:gd name="T9" fmla="*/ 4 h 216"/>
                  <a:gd name="T10" fmla="*/ 586 w 608"/>
                  <a:gd name="T11" fmla="*/ 8 h 216"/>
                  <a:gd name="T12" fmla="*/ 594 w 608"/>
                  <a:gd name="T13" fmla="*/ 14 h 216"/>
                  <a:gd name="T14" fmla="*/ 600 w 608"/>
                  <a:gd name="T15" fmla="*/ 22 h 216"/>
                  <a:gd name="T16" fmla="*/ 604 w 608"/>
                  <a:gd name="T17" fmla="*/ 30 h 216"/>
                  <a:gd name="T18" fmla="*/ 608 w 608"/>
                  <a:gd name="T19" fmla="*/ 40 h 216"/>
                  <a:gd name="T20" fmla="*/ 608 w 608"/>
                  <a:gd name="T21" fmla="*/ 50 h 216"/>
                  <a:gd name="T22" fmla="*/ 608 w 608"/>
                  <a:gd name="T23" fmla="*/ 166 h 216"/>
                  <a:gd name="T24" fmla="*/ 608 w 608"/>
                  <a:gd name="T25" fmla="*/ 166 h 216"/>
                  <a:gd name="T26" fmla="*/ 608 w 608"/>
                  <a:gd name="T27" fmla="*/ 176 h 216"/>
                  <a:gd name="T28" fmla="*/ 604 w 608"/>
                  <a:gd name="T29" fmla="*/ 184 h 216"/>
                  <a:gd name="T30" fmla="*/ 600 w 608"/>
                  <a:gd name="T31" fmla="*/ 194 h 216"/>
                  <a:gd name="T32" fmla="*/ 594 w 608"/>
                  <a:gd name="T33" fmla="*/ 202 h 216"/>
                  <a:gd name="T34" fmla="*/ 586 w 608"/>
                  <a:gd name="T35" fmla="*/ 208 h 216"/>
                  <a:gd name="T36" fmla="*/ 578 w 608"/>
                  <a:gd name="T37" fmla="*/ 212 h 216"/>
                  <a:gd name="T38" fmla="*/ 568 w 608"/>
                  <a:gd name="T39" fmla="*/ 214 h 216"/>
                  <a:gd name="T40" fmla="*/ 558 w 608"/>
                  <a:gd name="T41" fmla="*/ 216 h 216"/>
                  <a:gd name="T42" fmla="*/ 52 w 608"/>
                  <a:gd name="T43" fmla="*/ 216 h 216"/>
                  <a:gd name="T44" fmla="*/ 52 w 608"/>
                  <a:gd name="T45" fmla="*/ 216 h 216"/>
                  <a:gd name="T46" fmla="*/ 42 w 608"/>
                  <a:gd name="T47" fmla="*/ 214 h 216"/>
                  <a:gd name="T48" fmla="*/ 32 w 608"/>
                  <a:gd name="T49" fmla="*/ 212 h 216"/>
                  <a:gd name="T50" fmla="*/ 24 w 608"/>
                  <a:gd name="T51" fmla="*/ 208 h 216"/>
                  <a:gd name="T52" fmla="*/ 16 w 608"/>
                  <a:gd name="T53" fmla="*/ 202 h 216"/>
                  <a:gd name="T54" fmla="*/ 10 w 608"/>
                  <a:gd name="T55" fmla="*/ 194 h 216"/>
                  <a:gd name="T56" fmla="*/ 4 w 608"/>
                  <a:gd name="T57" fmla="*/ 184 h 216"/>
                  <a:gd name="T58" fmla="*/ 2 w 608"/>
                  <a:gd name="T59" fmla="*/ 176 h 216"/>
                  <a:gd name="T60" fmla="*/ 0 w 608"/>
                  <a:gd name="T61" fmla="*/ 166 h 216"/>
                  <a:gd name="T62" fmla="*/ 0 w 608"/>
                  <a:gd name="T63" fmla="*/ 50 h 216"/>
                  <a:gd name="T64" fmla="*/ 0 w 608"/>
                  <a:gd name="T65" fmla="*/ 50 h 216"/>
                  <a:gd name="T66" fmla="*/ 2 w 608"/>
                  <a:gd name="T67" fmla="*/ 40 h 216"/>
                  <a:gd name="T68" fmla="*/ 4 w 608"/>
                  <a:gd name="T69" fmla="*/ 30 h 216"/>
                  <a:gd name="T70" fmla="*/ 10 w 608"/>
                  <a:gd name="T71" fmla="*/ 22 h 216"/>
                  <a:gd name="T72" fmla="*/ 16 w 608"/>
                  <a:gd name="T73" fmla="*/ 14 h 216"/>
                  <a:gd name="T74" fmla="*/ 24 w 608"/>
                  <a:gd name="T75" fmla="*/ 8 h 216"/>
                  <a:gd name="T76" fmla="*/ 32 w 608"/>
                  <a:gd name="T77" fmla="*/ 4 h 216"/>
                  <a:gd name="T78" fmla="*/ 42 w 608"/>
                  <a:gd name="T79" fmla="*/ 0 h 216"/>
                  <a:gd name="T80" fmla="*/ 52 w 608"/>
                  <a:gd name="T81" fmla="*/ 0 h 216"/>
                  <a:gd name="T82" fmla="*/ 52 w 608"/>
                  <a:gd name="T83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2" y="0"/>
                    </a:moveTo>
                    <a:lnTo>
                      <a:pt x="558" y="0"/>
                    </a:lnTo>
                    <a:lnTo>
                      <a:pt x="558" y="0"/>
                    </a:lnTo>
                    <a:lnTo>
                      <a:pt x="568" y="0"/>
                    </a:lnTo>
                    <a:lnTo>
                      <a:pt x="578" y="4"/>
                    </a:lnTo>
                    <a:lnTo>
                      <a:pt x="586" y="8"/>
                    </a:lnTo>
                    <a:lnTo>
                      <a:pt x="594" y="14"/>
                    </a:lnTo>
                    <a:lnTo>
                      <a:pt x="600" y="22"/>
                    </a:lnTo>
                    <a:lnTo>
                      <a:pt x="604" y="30"/>
                    </a:lnTo>
                    <a:lnTo>
                      <a:pt x="608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8" y="176"/>
                    </a:lnTo>
                    <a:lnTo>
                      <a:pt x="604" y="184"/>
                    </a:lnTo>
                    <a:lnTo>
                      <a:pt x="600" y="194"/>
                    </a:lnTo>
                    <a:lnTo>
                      <a:pt x="594" y="202"/>
                    </a:lnTo>
                    <a:lnTo>
                      <a:pt x="586" y="208"/>
                    </a:lnTo>
                    <a:lnTo>
                      <a:pt x="578" y="212"/>
                    </a:lnTo>
                    <a:lnTo>
                      <a:pt x="568" y="214"/>
                    </a:lnTo>
                    <a:lnTo>
                      <a:pt x="558" y="216"/>
                    </a:lnTo>
                    <a:lnTo>
                      <a:pt x="52" y="216"/>
                    </a:lnTo>
                    <a:lnTo>
                      <a:pt x="52" y="216"/>
                    </a:lnTo>
                    <a:lnTo>
                      <a:pt x="42" y="214"/>
                    </a:lnTo>
                    <a:lnTo>
                      <a:pt x="32" y="212"/>
                    </a:lnTo>
                    <a:lnTo>
                      <a:pt x="24" y="208"/>
                    </a:lnTo>
                    <a:lnTo>
                      <a:pt x="16" y="202"/>
                    </a:lnTo>
                    <a:lnTo>
                      <a:pt x="10" y="194"/>
                    </a:lnTo>
                    <a:lnTo>
                      <a:pt x="4" y="184"/>
                    </a:lnTo>
                    <a:lnTo>
                      <a:pt x="2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40"/>
                    </a:lnTo>
                    <a:lnTo>
                      <a:pt x="4" y="30"/>
                    </a:lnTo>
                    <a:lnTo>
                      <a:pt x="10" y="22"/>
                    </a:lnTo>
                    <a:lnTo>
                      <a:pt x="16" y="14"/>
                    </a:lnTo>
                    <a:lnTo>
                      <a:pt x="24" y="8"/>
                    </a:lnTo>
                    <a:lnTo>
                      <a:pt x="32" y="4"/>
                    </a:lnTo>
                    <a:lnTo>
                      <a:pt x="42" y="0"/>
                    </a:lnTo>
                    <a:lnTo>
                      <a:pt x="52" y="0"/>
                    </a:lnTo>
                    <a:lnTo>
                      <a:pt x="52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18" name="Line 64">
                <a:extLst>
                  <a:ext uri="{FF2B5EF4-FFF2-40B4-BE49-F238E27FC236}">
                    <a16:creationId xmlns:a16="http://schemas.microsoft.com/office/drawing/2014/main" id="{E93DD524-E1F8-4959-81B8-D060087B4A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V="1">
                <a:off x="5687858" y="-1089898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19" name="Line 65">
                <a:extLst>
                  <a:ext uri="{FF2B5EF4-FFF2-40B4-BE49-F238E27FC236}">
                    <a16:creationId xmlns:a16="http://schemas.microsoft.com/office/drawing/2014/main" id="{9634F5FD-FAAE-4083-9C24-9F710BC4DB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 flipV="1">
                <a:off x="5709832" y="-1144292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64552C61-D1D7-48BE-A6FA-914C3EBB805C}"/>
                </a:ext>
              </a:extLst>
            </p:cNvPr>
            <p:cNvGrpSpPr/>
            <p:nvPr/>
          </p:nvGrpSpPr>
          <p:grpSpPr>
            <a:xfrm>
              <a:off x="2566936" y="2053092"/>
              <a:ext cx="548312" cy="265533"/>
              <a:chOff x="5165786" y="-1303968"/>
              <a:chExt cx="1431619" cy="693296"/>
            </a:xfrm>
          </p:grpSpPr>
          <p:sp>
            <p:nvSpPr>
              <p:cNvPr id="124" name="Freeform 55">
                <a:extLst>
                  <a:ext uri="{FF2B5EF4-FFF2-40B4-BE49-F238E27FC236}">
                    <a16:creationId xmlns:a16="http://schemas.microsoft.com/office/drawing/2014/main" id="{54424A7F-EA48-4918-84F0-5AD17916F6BE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664593" y="-830401"/>
                <a:ext cx="213106" cy="41284"/>
              </a:xfrm>
              <a:custGeom>
                <a:avLst/>
                <a:gdLst>
                  <a:gd name="T0" fmla="*/ 234 w 234"/>
                  <a:gd name="T1" fmla="*/ 0 h 48"/>
                  <a:gd name="T2" fmla="*/ 234 w 234"/>
                  <a:gd name="T3" fmla="*/ 0 h 48"/>
                  <a:gd name="T4" fmla="*/ 222 w 234"/>
                  <a:gd name="T5" fmla="*/ 12 h 48"/>
                  <a:gd name="T6" fmla="*/ 208 w 234"/>
                  <a:gd name="T7" fmla="*/ 22 h 48"/>
                  <a:gd name="T8" fmla="*/ 194 w 234"/>
                  <a:gd name="T9" fmla="*/ 30 h 48"/>
                  <a:gd name="T10" fmla="*/ 180 w 234"/>
                  <a:gd name="T11" fmla="*/ 36 h 48"/>
                  <a:gd name="T12" fmla="*/ 164 w 234"/>
                  <a:gd name="T13" fmla="*/ 42 h 48"/>
                  <a:gd name="T14" fmla="*/ 150 w 234"/>
                  <a:gd name="T15" fmla="*/ 46 h 48"/>
                  <a:gd name="T16" fmla="*/ 134 w 234"/>
                  <a:gd name="T17" fmla="*/ 48 h 48"/>
                  <a:gd name="T18" fmla="*/ 118 w 234"/>
                  <a:gd name="T19" fmla="*/ 48 h 48"/>
                  <a:gd name="T20" fmla="*/ 102 w 234"/>
                  <a:gd name="T21" fmla="*/ 48 h 48"/>
                  <a:gd name="T22" fmla="*/ 86 w 234"/>
                  <a:gd name="T23" fmla="*/ 46 h 48"/>
                  <a:gd name="T24" fmla="*/ 70 w 234"/>
                  <a:gd name="T25" fmla="*/ 42 h 48"/>
                  <a:gd name="T26" fmla="*/ 56 w 234"/>
                  <a:gd name="T27" fmla="*/ 36 h 48"/>
                  <a:gd name="T28" fmla="*/ 40 w 234"/>
                  <a:gd name="T29" fmla="*/ 30 h 48"/>
                  <a:gd name="T30" fmla="*/ 26 w 234"/>
                  <a:gd name="T31" fmla="*/ 20 h 48"/>
                  <a:gd name="T32" fmla="*/ 14 w 234"/>
                  <a:gd name="T33" fmla="*/ 10 h 48"/>
                  <a:gd name="T34" fmla="*/ 0 w 234"/>
                  <a:gd name="T3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4" h="48">
                    <a:moveTo>
                      <a:pt x="234" y="0"/>
                    </a:moveTo>
                    <a:lnTo>
                      <a:pt x="234" y="0"/>
                    </a:lnTo>
                    <a:lnTo>
                      <a:pt x="222" y="12"/>
                    </a:lnTo>
                    <a:lnTo>
                      <a:pt x="208" y="22"/>
                    </a:lnTo>
                    <a:lnTo>
                      <a:pt x="194" y="30"/>
                    </a:lnTo>
                    <a:lnTo>
                      <a:pt x="180" y="36"/>
                    </a:lnTo>
                    <a:lnTo>
                      <a:pt x="164" y="42"/>
                    </a:lnTo>
                    <a:lnTo>
                      <a:pt x="150" y="46"/>
                    </a:lnTo>
                    <a:lnTo>
                      <a:pt x="134" y="48"/>
                    </a:lnTo>
                    <a:lnTo>
                      <a:pt x="118" y="48"/>
                    </a:lnTo>
                    <a:lnTo>
                      <a:pt x="102" y="48"/>
                    </a:lnTo>
                    <a:lnTo>
                      <a:pt x="86" y="46"/>
                    </a:lnTo>
                    <a:lnTo>
                      <a:pt x="70" y="42"/>
                    </a:lnTo>
                    <a:lnTo>
                      <a:pt x="56" y="36"/>
                    </a:lnTo>
                    <a:lnTo>
                      <a:pt x="40" y="30"/>
                    </a:lnTo>
                    <a:lnTo>
                      <a:pt x="26" y="20"/>
                    </a:lnTo>
                    <a:lnTo>
                      <a:pt x="14" y="1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25" name="Freeform 56">
                <a:extLst>
                  <a:ext uri="{FF2B5EF4-FFF2-40B4-BE49-F238E27FC236}">
                    <a16:creationId xmlns:a16="http://schemas.microsoft.com/office/drawing/2014/main" id="{1EC7A22A-2F14-41E4-857F-B75B635A46CD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563940" y="-770551"/>
                <a:ext cx="355176" cy="70528"/>
              </a:xfrm>
              <a:custGeom>
                <a:avLst/>
                <a:gdLst>
                  <a:gd name="T0" fmla="*/ 390 w 390"/>
                  <a:gd name="T1" fmla="*/ 4 h 82"/>
                  <a:gd name="T2" fmla="*/ 390 w 390"/>
                  <a:gd name="T3" fmla="*/ 4 h 82"/>
                  <a:gd name="T4" fmla="*/ 370 w 390"/>
                  <a:gd name="T5" fmla="*/ 22 h 82"/>
                  <a:gd name="T6" fmla="*/ 348 w 390"/>
                  <a:gd name="T7" fmla="*/ 38 h 82"/>
                  <a:gd name="T8" fmla="*/ 324 w 390"/>
                  <a:gd name="T9" fmla="*/ 52 h 82"/>
                  <a:gd name="T10" fmla="*/ 300 w 390"/>
                  <a:gd name="T11" fmla="*/ 64 h 82"/>
                  <a:gd name="T12" fmla="*/ 274 w 390"/>
                  <a:gd name="T13" fmla="*/ 72 h 82"/>
                  <a:gd name="T14" fmla="*/ 248 w 390"/>
                  <a:gd name="T15" fmla="*/ 78 h 82"/>
                  <a:gd name="T16" fmla="*/ 222 w 390"/>
                  <a:gd name="T17" fmla="*/ 82 h 82"/>
                  <a:gd name="T18" fmla="*/ 196 w 390"/>
                  <a:gd name="T19" fmla="*/ 82 h 82"/>
                  <a:gd name="T20" fmla="*/ 168 w 390"/>
                  <a:gd name="T21" fmla="*/ 82 h 82"/>
                  <a:gd name="T22" fmla="*/ 142 w 390"/>
                  <a:gd name="T23" fmla="*/ 78 h 82"/>
                  <a:gd name="T24" fmla="*/ 116 w 390"/>
                  <a:gd name="T25" fmla="*/ 70 h 82"/>
                  <a:gd name="T26" fmla="*/ 92 w 390"/>
                  <a:gd name="T27" fmla="*/ 62 h 82"/>
                  <a:gd name="T28" fmla="*/ 68 w 390"/>
                  <a:gd name="T29" fmla="*/ 50 h 82"/>
                  <a:gd name="T30" fmla="*/ 44 w 390"/>
                  <a:gd name="T31" fmla="*/ 36 h 82"/>
                  <a:gd name="T32" fmla="*/ 22 w 390"/>
                  <a:gd name="T33" fmla="*/ 20 h 82"/>
                  <a:gd name="T34" fmla="*/ 0 w 390"/>
                  <a:gd name="T35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0" h="82">
                    <a:moveTo>
                      <a:pt x="390" y="4"/>
                    </a:moveTo>
                    <a:lnTo>
                      <a:pt x="390" y="4"/>
                    </a:lnTo>
                    <a:lnTo>
                      <a:pt x="370" y="22"/>
                    </a:lnTo>
                    <a:lnTo>
                      <a:pt x="348" y="38"/>
                    </a:lnTo>
                    <a:lnTo>
                      <a:pt x="324" y="52"/>
                    </a:lnTo>
                    <a:lnTo>
                      <a:pt x="300" y="64"/>
                    </a:lnTo>
                    <a:lnTo>
                      <a:pt x="274" y="72"/>
                    </a:lnTo>
                    <a:lnTo>
                      <a:pt x="248" y="78"/>
                    </a:lnTo>
                    <a:lnTo>
                      <a:pt x="222" y="82"/>
                    </a:lnTo>
                    <a:lnTo>
                      <a:pt x="196" y="82"/>
                    </a:lnTo>
                    <a:lnTo>
                      <a:pt x="168" y="82"/>
                    </a:lnTo>
                    <a:lnTo>
                      <a:pt x="142" y="78"/>
                    </a:lnTo>
                    <a:lnTo>
                      <a:pt x="116" y="70"/>
                    </a:lnTo>
                    <a:lnTo>
                      <a:pt x="92" y="62"/>
                    </a:lnTo>
                    <a:lnTo>
                      <a:pt x="68" y="50"/>
                    </a:lnTo>
                    <a:lnTo>
                      <a:pt x="44" y="36"/>
                    </a:lnTo>
                    <a:lnTo>
                      <a:pt x="22" y="2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26" name="Freeform 57">
                <a:extLst>
                  <a:ext uri="{FF2B5EF4-FFF2-40B4-BE49-F238E27FC236}">
                    <a16:creationId xmlns:a16="http://schemas.microsoft.com/office/drawing/2014/main" id="{2C37071F-D395-43F8-9D7B-E59A01A5AB40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464734" y="-708723"/>
                <a:ext cx="495426" cy="98051"/>
              </a:xfrm>
              <a:custGeom>
                <a:avLst/>
                <a:gdLst>
                  <a:gd name="T0" fmla="*/ 544 w 544"/>
                  <a:gd name="T1" fmla="*/ 4 h 114"/>
                  <a:gd name="T2" fmla="*/ 544 w 544"/>
                  <a:gd name="T3" fmla="*/ 4 h 114"/>
                  <a:gd name="T4" fmla="*/ 516 w 544"/>
                  <a:gd name="T5" fmla="*/ 30 h 114"/>
                  <a:gd name="T6" fmla="*/ 484 w 544"/>
                  <a:gd name="T7" fmla="*/ 52 h 114"/>
                  <a:gd name="T8" fmla="*/ 450 w 544"/>
                  <a:gd name="T9" fmla="*/ 72 h 114"/>
                  <a:gd name="T10" fmla="*/ 416 w 544"/>
                  <a:gd name="T11" fmla="*/ 88 h 114"/>
                  <a:gd name="T12" fmla="*/ 382 w 544"/>
                  <a:gd name="T13" fmla="*/ 100 h 114"/>
                  <a:gd name="T14" fmla="*/ 344 w 544"/>
                  <a:gd name="T15" fmla="*/ 108 h 114"/>
                  <a:gd name="T16" fmla="*/ 308 w 544"/>
                  <a:gd name="T17" fmla="*/ 114 h 114"/>
                  <a:gd name="T18" fmla="*/ 272 w 544"/>
                  <a:gd name="T19" fmla="*/ 114 h 114"/>
                  <a:gd name="T20" fmla="*/ 234 w 544"/>
                  <a:gd name="T21" fmla="*/ 112 h 114"/>
                  <a:gd name="T22" fmla="*/ 198 w 544"/>
                  <a:gd name="T23" fmla="*/ 108 h 114"/>
                  <a:gd name="T24" fmla="*/ 162 w 544"/>
                  <a:gd name="T25" fmla="*/ 98 h 114"/>
                  <a:gd name="T26" fmla="*/ 126 w 544"/>
                  <a:gd name="T27" fmla="*/ 86 h 114"/>
                  <a:gd name="T28" fmla="*/ 92 w 544"/>
                  <a:gd name="T29" fmla="*/ 70 h 114"/>
                  <a:gd name="T30" fmla="*/ 60 w 544"/>
                  <a:gd name="T31" fmla="*/ 50 h 114"/>
                  <a:gd name="T32" fmla="*/ 28 w 544"/>
                  <a:gd name="T33" fmla="*/ 26 h 114"/>
                  <a:gd name="T34" fmla="*/ 0 w 544"/>
                  <a:gd name="T3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4" h="114">
                    <a:moveTo>
                      <a:pt x="544" y="4"/>
                    </a:moveTo>
                    <a:lnTo>
                      <a:pt x="544" y="4"/>
                    </a:lnTo>
                    <a:lnTo>
                      <a:pt x="516" y="30"/>
                    </a:lnTo>
                    <a:lnTo>
                      <a:pt x="484" y="52"/>
                    </a:lnTo>
                    <a:lnTo>
                      <a:pt x="450" y="72"/>
                    </a:lnTo>
                    <a:lnTo>
                      <a:pt x="416" y="88"/>
                    </a:lnTo>
                    <a:lnTo>
                      <a:pt x="382" y="100"/>
                    </a:lnTo>
                    <a:lnTo>
                      <a:pt x="344" y="108"/>
                    </a:lnTo>
                    <a:lnTo>
                      <a:pt x="308" y="114"/>
                    </a:lnTo>
                    <a:lnTo>
                      <a:pt x="272" y="114"/>
                    </a:lnTo>
                    <a:lnTo>
                      <a:pt x="234" y="112"/>
                    </a:lnTo>
                    <a:lnTo>
                      <a:pt x="198" y="108"/>
                    </a:lnTo>
                    <a:lnTo>
                      <a:pt x="162" y="98"/>
                    </a:lnTo>
                    <a:lnTo>
                      <a:pt x="126" y="86"/>
                    </a:lnTo>
                    <a:lnTo>
                      <a:pt x="92" y="70"/>
                    </a:lnTo>
                    <a:lnTo>
                      <a:pt x="60" y="50"/>
                    </a:lnTo>
                    <a:lnTo>
                      <a:pt x="28" y="26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27" name="Freeform 59">
                <a:extLst>
                  <a:ext uri="{FF2B5EF4-FFF2-40B4-BE49-F238E27FC236}">
                    <a16:creationId xmlns:a16="http://schemas.microsoft.com/office/drawing/2014/main" id="{6F550289-38A6-4E54-B8D3-A15276F3B143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6043694" y="-978076"/>
                <a:ext cx="553711" cy="185780"/>
              </a:xfrm>
              <a:custGeom>
                <a:avLst/>
                <a:gdLst>
                  <a:gd name="T0" fmla="*/ 556 w 608"/>
                  <a:gd name="T1" fmla="*/ 216 h 216"/>
                  <a:gd name="T2" fmla="*/ 50 w 608"/>
                  <a:gd name="T3" fmla="*/ 216 h 216"/>
                  <a:gd name="T4" fmla="*/ 50 w 608"/>
                  <a:gd name="T5" fmla="*/ 216 h 216"/>
                  <a:gd name="T6" fmla="*/ 40 w 608"/>
                  <a:gd name="T7" fmla="*/ 214 h 216"/>
                  <a:gd name="T8" fmla="*/ 30 w 608"/>
                  <a:gd name="T9" fmla="*/ 212 h 216"/>
                  <a:gd name="T10" fmla="*/ 22 w 608"/>
                  <a:gd name="T11" fmla="*/ 208 h 216"/>
                  <a:gd name="T12" fmla="*/ 14 w 608"/>
                  <a:gd name="T13" fmla="*/ 202 h 216"/>
                  <a:gd name="T14" fmla="*/ 8 w 608"/>
                  <a:gd name="T15" fmla="*/ 194 h 216"/>
                  <a:gd name="T16" fmla="*/ 4 w 608"/>
                  <a:gd name="T17" fmla="*/ 184 h 216"/>
                  <a:gd name="T18" fmla="*/ 0 w 608"/>
                  <a:gd name="T19" fmla="*/ 176 h 216"/>
                  <a:gd name="T20" fmla="*/ 0 w 608"/>
                  <a:gd name="T21" fmla="*/ 166 h 216"/>
                  <a:gd name="T22" fmla="*/ 0 w 608"/>
                  <a:gd name="T23" fmla="*/ 50 h 216"/>
                  <a:gd name="T24" fmla="*/ 0 w 608"/>
                  <a:gd name="T25" fmla="*/ 50 h 216"/>
                  <a:gd name="T26" fmla="*/ 0 w 608"/>
                  <a:gd name="T27" fmla="*/ 40 h 216"/>
                  <a:gd name="T28" fmla="*/ 4 w 608"/>
                  <a:gd name="T29" fmla="*/ 30 h 216"/>
                  <a:gd name="T30" fmla="*/ 8 w 608"/>
                  <a:gd name="T31" fmla="*/ 22 h 216"/>
                  <a:gd name="T32" fmla="*/ 14 w 608"/>
                  <a:gd name="T33" fmla="*/ 14 h 216"/>
                  <a:gd name="T34" fmla="*/ 22 w 608"/>
                  <a:gd name="T35" fmla="*/ 8 h 216"/>
                  <a:gd name="T36" fmla="*/ 30 w 608"/>
                  <a:gd name="T37" fmla="*/ 4 h 216"/>
                  <a:gd name="T38" fmla="*/ 40 w 608"/>
                  <a:gd name="T39" fmla="*/ 0 h 216"/>
                  <a:gd name="T40" fmla="*/ 50 w 608"/>
                  <a:gd name="T41" fmla="*/ 0 h 216"/>
                  <a:gd name="T42" fmla="*/ 556 w 608"/>
                  <a:gd name="T43" fmla="*/ 0 h 216"/>
                  <a:gd name="T44" fmla="*/ 556 w 608"/>
                  <a:gd name="T45" fmla="*/ 0 h 216"/>
                  <a:gd name="T46" fmla="*/ 568 w 608"/>
                  <a:gd name="T47" fmla="*/ 0 h 216"/>
                  <a:gd name="T48" fmla="*/ 576 w 608"/>
                  <a:gd name="T49" fmla="*/ 4 h 216"/>
                  <a:gd name="T50" fmla="*/ 586 w 608"/>
                  <a:gd name="T51" fmla="*/ 8 h 216"/>
                  <a:gd name="T52" fmla="*/ 592 w 608"/>
                  <a:gd name="T53" fmla="*/ 14 h 216"/>
                  <a:gd name="T54" fmla="*/ 598 w 608"/>
                  <a:gd name="T55" fmla="*/ 22 h 216"/>
                  <a:gd name="T56" fmla="*/ 604 w 608"/>
                  <a:gd name="T57" fmla="*/ 30 h 216"/>
                  <a:gd name="T58" fmla="*/ 606 w 608"/>
                  <a:gd name="T59" fmla="*/ 40 h 216"/>
                  <a:gd name="T60" fmla="*/ 608 w 608"/>
                  <a:gd name="T61" fmla="*/ 50 h 216"/>
                  <a:gd name="T62" fmla="*/ 608 w 608"/>
                  <a:gd name="T63" fmla="*/ 166 h 216"/>
                  <a:gd name="T64" fmla="*/ 608 w 608"/>
                  <a:gd name="T65" fmla="*/ 166 h 216"/>
                  <a:gd name="T66" fmla="*/ 606 w 608"/>
                  <a:gd name="T67" fmla="*/ 176 h 216"/>
                  <a:gd name="T68" fmla="*/ 604 w 608"/>
                  <a:gd name="T69" fmla="*/ 184 h 216"/>
                  <a:gd name="T70" fmla="*/ 598 w 608"/>
                  <a:gd name="T71" fmla="*/ 194 h 216"/>
                  <a:gd name="T72" fmla="*/ 592 w 608"/>
                  <a:gd name="T73" fmla="*/ 202 h 216"/>
                  <a:gd name="T74" fmla="*/ 586 w 608"/>
                  <a:gd name="T75" fmla="*/ 208 h 216"/>
                  <a:gd name="T76" fmla="*/ 576 w 608"/>
                  <a:gd name="T77" fmla="*/ 212 h 216"/>
                  <a:gd name="T78" fmla="*/ 568 w 608"/>
                  <a:gd name="T79" fmla="*/ 214 h 216"/>
                  <a:gd name="T80" fmla="*/ 556 w 608"/>
                  <a:gd name="T81" fmla="*/ 216 h 216"/>
                  <a:gd name="T82" fmla="*/ 556 w 608"/>
                  <a:gd name="T8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56" y="216"/>
                    </a:moveTo>
                    <a:lnTo>
                      <a:pt x="50" y="216"/>
                    </a:lnTo>
                    <a:lnTo>
                      <a:pt x="50" y="216"/>
                    </a:lnTo>
                    <a:lnTo>
                      <a:pt x="40" y="214"/>
                    </a:lnTo>
                    <a:lnTo>
                      <a:pt x="30" y="212"/>
                    </a:lnTo>
                    <a:lnTo>
                      <a:pt x="22" y="208"/>
                    </a:lnTo>
                    <a:lnTo>
                      <a:pt x="14" y="202"/>
                    </a:lnTo>
                    <a:lnTo>
                      <a:pt x="8" y="194"/>
                    </a:lnTo>
                    <a:lnTo>
                      <a:pt x="4" y="184"/>
                    </a:lnTo>
                    <a:lnTo>
                      <a:pt x="0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0"/>
                    </a:lnTo>
                    <a:lnTo>
                      <a:pt x="4" y="30"/>
                    </a:lnTo>
                    <a:lnTo>
                      <a:pt x="8" y="22"/>
                    </a:lnTo>
                    <a:lnTo>
                      <a:pt x="14" y="14"/>
                    </a:lnTo>
                    <a:lnTo>
                      <a:pt x="22" y="8"/>
                    </a:lnTo>
                    <a:lnTo>
                      <a:pt x="30" y="4"/>
                    </a:lnTo>
                    <a:lnTo>
                      <a:pt x="40" y="0"/>
                    </a:lnTo>
                    <a:lnTo>
                      <a:pt x="50" y="0"/>
                    </a:lnTo>
                    <a:lnTo>
                      <a:pt x="556" y="0"/>
                    </a:lnTo>
                    <a:lnTo>
                      <a:pt x="556" y="0"/>
                    </a:lnTo>
                    <a:lnTo>
                      <a:pt x="568" y="0"/>
                    </a:lnTo>
                    <a:lnTo>
                      <a:pt x="576" y="4"/>
                    </a:lnTo>
                    <a:lnTo>
                      <a:pt x="586" y="8"/>
                    </a:lnTo>
                    <a:lnTo>
                      <a:pt x="592" y="14"/>
                    </a:lnTo>
                    <a:lnTo>
                      <a:pt x="598" y="22"/>
                    </a:lnTo>
                    <a:lnTo>
                      <a:pt x="604" y="30"/>
                    </a:lnTo>
                    <a:lnTo>
                      <a:pt x="606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6" y="176"/>
                    </a:lnTo>
                    <a:lnTo>
                      <a:pt x="604" y="184"/>
                    </a:lnTo>
                    <a:lnTo>
                      <a:pt x="598" y="194"/>
                    </a:lnTo>
                    <a:lnTo>
                      <a:pt x="592" y="202"/>
                    </a:lnTo>
                    <a:lnTo>
                      <a:pt x="586" y="208"/>
                    </a:lnTo>
                    <a:lnTo>
                      <a:pt x="576" y="212"/>
                    </a:lnTo>
                    <a:lnTo>
                      <a:pt x="568" y="214"/>
                    </a:lnTo>
                    <a:lnTo>
                      <a:pt x="556" y="216"/>
                    </a:lnTo>
                    <a:lnTo>
                      <a:pt x="556" y="216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28" name="Line 60">
                <a:extLst>
                  <a:ext uri="{FF2B5EF4-FFF2-40B4-BE49-F238E27FC236}">
                    <a16:creationId xmlns:a16="http://schemas.microsoft.com/office/drawing/2014/main" id="{17374EBA-BB74-4489-8AEF-66BA2F6DF8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>
                <a:off x="5969692" y="-1045932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29" name="Line 61">
                <a:extLst>
                  <a:ext uri="{FF2B5EF4-FFF2-40B4-BE49-F238E27FC236}">
                    <a16:creationId xmlns:a16="http://schemas.microsoft.com/office/drawing/2014/main" id="{B0B04FB5-9EAE-4F80-A59F-5660AE2063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>
                <a:off x="5947718" y="-989818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30" name="Freeform 62">
                <a:extLst>
                  <a:ext uri="{FF2B5EF4-FFF2-40B4-BE49-F238E27FC236}">
                    <a16:creationId xmlns:a16="http://schemas.microsoft.com/office/drawing/2014/main" id="{383ACD84-A699-4DB7-B437-142AE020E6B0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802306" y="-1123505"/>
                <a:ext cx="160285" cy="151376"/>
              </a:xfrm>
              <a:custGeom>
                <a:avLst/>
                <a:gdLst>
                  <a:gd name="T0" fmla="*/ 0 w 176"/>
                  <a:gd name="T1" fmla="*/ 88 h 176"/>
                  <a:gd name="T2" fmla="*/ 0 w 176"/>
                  <a:gd name="T3" fmla="*/ 88 h 176"/>
                  <a:gd name="T4" fmla="*/ 0 w 176"/>
                  <a:gd name="T5" fmla="*/ 70 h 176"/>
                  <a:gd name="T6" fmla="*/ 6 w 176"/>
                  <a:gd name="T7" fmla="*/ 54 h 176"/>
                  <a:gd name="T8" fmla="*/ 14 w 176"/>
                  <a:gd name="T9" fmla="*/ 38 h 176"/>
                  <a:gd name="T10" fmla="*/ 24 w 176"/>
                  <a:gd name="T11" fmla="*/ 26 h 176"/>
                  <a:gd name="T12" fmla="*/ 38 w 176"/>
                  <a:gd name="T13" fmla="*/ 14 h 176"/>
                  <a:gd name="T14" fmla="*/ 52 w 176"/>
                  <a:gd name="T15" fmla="*/ 6 h 176"/>
                  <a:gd name="T16" fmla="*/ 70 w 176"/>
                  <a:gd name="T17" fmla="*/ 2 h 176"/>
                  <a:gd name="T18" fmla="*/ 88 w 176"/>
                  <a:gd name="T19" fmla="*/ 0 h 176"/>
                  <a:gd name="T20" fmla="*/ 88 w 176"/>
                  <a:gd name="T21" fmla="*/ 0 h 176"/>
                  <a:gd name="T22" fmla="*/ 104 w 176"/>
                  <a:gd name="T23" fmla="*/ 2 h 176"/>
                  <a:gd name="T24" fmla="*/ 122 w 176"/>
                  <a:gd name="T25" fmla="*/ 6 h 176"/>
                  <a:gd name="T26" fmla="*/ 136 w 176"/>
                  <a:gd name="T27" fmla="*/ 14 h 176"/>
                  <a:gd name="T28" fmla="*/ 150 w 176"/>
                  <a:gd name="T29" fmla="*/ 26 h 176"/>
                  <a:gd name="T30" fmla="*/ 160 w 176"/>
                  <a:gd name="T31" fmla="*/ 38 h 176"/>
                  <a:gd name="T32" fmla="*/ 168 w 176"/>
                  <a:gd name="T33" fmla="*/ 54 h 176"/>
                  <a:gd name="T34" fmla="*/ 174 w 176"/>
                  <a:gd name="T35" fmla="*/ 70 h 176"/>
                  <a:gd name="T36" fmla="*/ 176 w 176"/>
                  <a:gd name="T37" fmla="*/ 88 h 176"/>
                  <a:gd name="T38" fmla="*/ 176 w 176"/>
                  <a:gd name="T39" fmla="*/ 88 h 176"/>
                  <a:gd name="T40" fmla="*/ 174 w 176"/>
                  <a:gd name="T41" fmla="*/ 106 h 176"/>
                  <a:gd name="T42" fmla="*/ 168 w 176"/>
                  <a:gd name="T43" fmla="*/ 122 h 176"/>
                  <a:gd name="T44" fmla="*/ 160 w 176"/>
                  <a:gd name="T45" fmla="*/ 138 h 176"/>
                  <a:gd name="T46" fmla="*/ 150 w 176"/>
                  <a:gd name="T47" fmla="*/ 150 h 176"/>
                  <a:gd name="T48" fmla="*/ 136 w 176"/>
                  <a:gd name="T49" fmla="*/ 160 h 176"/>
                  <a:gd name="T50" fmla="*/ 122 w 176"/>
                  <a:gd name="T51" fmla="*/ 170 h 176"/>
                  <a:gd name="T52" fmla="*/ 104 w 176"/>
                  <a:gd name="T53" fmla="*/ 174 h 176"/>
                  <a:gd name="T54" fmla="*/ 88 w 176"/>
                  <a:gd name="T55" fmla="*/ 176 h 176"/>
                  <a:gd name="T56" fmla="*/ 88 w 176"/>
                  <a:gd name="T57" fmla="*/ 176 h 176"/>
                  <a:gd name="T58" fmla="*/ 70 w 176"/>
                  <a:gd name="T59" fmla="*/ 174 h 176"/>
                  <a:gd name="T60" fmla="*/ 52 w 176"/>
                  <a:gd name="T61" fmla="*/ 170 h 176"/>
                  <a:gd name="T62" fmla="*/ 38 w 176"/>
                  <a:gd name="T63" fmla="*/ 160 h 176"/>
                  <a:gd name="T64" fmla="*/ 24 w 176"/>
                  <a:gd name="T65" fmla="*/ 150 h 176"/>
                  <a:gd name="T66" fmla="*/ 14 w 176"/>
                  <a:gd name="T67" fmla="*/ 138 h 176"/>
                  <a:gd name="T68" fmla="*/ 6 w 176"/>
                  <a:gd name="T69" fmla="*/ 122 h 176"/>
                  <a:gd name="T70" fmla="*/ 0 w 176"/>
                  <a:gd name="T71" fmla="*/ 106 h 176"/>
                  <a:gd name="T72" fmla="*/ 0 w 176"/>
                  <a:gd name="T73" fmla="*/ 88 h 176"/>
                  <a:gd name="T74" fmla="*/ 0 w 176"/>
                  <a:gd name="T75" fmla="*/ 8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6" h="176">
                    <a:moveTo>
                      <a:pt x="0" y="88"/>
                    </a:moveTo>
                    <a:lnTo>
                      <a:pt x="0" y="88"/>
                    </a:lnTo>
                    <a:lnTo>
                      <a:pt x="0" y="70"/>
                    </a:lnTo>
                    <a:lnTo>
                      <a:pt x="6" y="54"/>
                    </a:lnTo>
                    <a:lnTo>
                      <a:pt x="14" y="38"/>
                    </a:lnTo>
                    <a:lnTo>
                      <a:pt x="24" y="26"/>
                    </a:lnTo>
                    <a:lnTo>
                      <a:pt x="38" y="14"/>
                    </a:lnTo>
                    <a:lnTo>
                      <a:pt x="52" y="6"/>
                    </a:lnTo>
                    <a:lnTo>
                      <a:pt x="70" y="2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104" y="2"/>
                    </a:lnTo>
                    <a:lnTo>
                      <a:pt x="122" y="6"/>
                    </a:lnTo>
                    <a:lnTo>
                      <a:pt x="136" y="14"/>
                    </a:lnTo>
                    <a:lnTo>
                      <a:pt x="150" y="26"/>
                    </a:lnTo>
                    <a:lnTo>
                      <a:pt x="160" y="38"/>
                    </a:lnTo>
                    <a:lnTo>
                      <a:pt x="168" y="54"/>
                    </a:lnTo>
                    <a:lnTo>
                      <a:pt x="174" y="70"/>
                    </a:lnTo>
                    <a:lnTo>
                      <a:pt x="176" y="88"/>
                    </a:lnTo>
                    <a:lnTo>
                      <a:pt x="176" y="88"/>
                    </a:lnTo>
                    <a:lnTo>
                      <a:pt x="174" y="106"/>
                    </a:lnTo>
                    <a:lnTo>
                      <a:pt x="168" y="122"/>
                    </a:lnTo>
                    <a:lnTo>
                      <a:pt x="160" y="138"/>
                    </a:lnTo>
                    <a:lnTo>
                      <a:pt x="150" y="150"/>
                    </a:lnTo>
                    <a:lnTo>
                      <a:pt x="136" y="160"/>
                    </a:lnTo>
                    <a:lnTo>
                      <a:pt x="122" y="170"/>
                    </a:lnTo>
                    <a:lnTo>
                      <a:pt x="104" y="174"/>
                    </a:lnTo>
                    <a:lnTo>
                      <a:pt x="88" y="176"/>
                    </a:lnTo>
                    <a:lnTo>
                      <a:pt x="88" y="176"/>
                    </a:lnTo>
                    <a:lnTo>
                      <a:pt x="70" y="174"/>
                    </a:lnTo>
                    <a:lnTo>
                      <a:pt x="52" y="170"/>
                    </a:lnTo>
                    <a:lnTo>
                      <a:pt x="38" y="160"/>
                    </a:lnTo>
                    <a:lnTo>
                      <a:pt x="24" y="150"/>
                    </a:lnTo>
                    <a:lnTo>
                      <a:pt x="14" y="138"/>
                    </a:lnTo>
                    <a:lnTo>
                      <a:pt x="6" y="122"/>
                    </a:lnTo>
                    <a:lnTo>
                      <a:pt x="0" y="106"/>
                    </a:lnTo>
                    <a:lnTo>
                      <a:pt x="0" y="88"/>
                    </a:lnTo>
                    <a:lnTo>
                      <a:pt x="0" y="88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31" name="Freeform 63">
                <a:extLst>
                  <a:ext uri="{FF2B5EF4-FFF2-40B4-BE49-F238E27FC236}">
                    <a16:creationId xmlns:a16="http://schemas.microsoft.com/office/drawing/2014/main" id="{31B7EF90-5145-42AB-BE0C-71295858C7F4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165786" y="-1303968"/>
                <a:ext cx="553711" cy="185780"/>
              </a:xfrm>
              <a:custGeom>
                <a:avLst/>
                <a:gdLst>
                  <a:gd name="T0" fmla="*/ 52 w 608"/>
                  <a:gd name="T1" fmla="*/ 0 h 216"/>
                  <a:gd name="T2" fmla="*/ 558 w 608"/>
                  <a:gd name="T3" fmla="*/ 0 h 216"/>
                  <a:gd name="T4" fmla="*/ 558 w 608"/>
                  <a:gd name="T5" fmla="*/ 0 h 216"/>
                  <a:gd name="T6" fmla="*/ 568 w 608"/>
                  <a:gd name="T7" fmla="*/ 0 h 216"/>
                  <a:gd name="T8" fmla="*/ 578 w 608"/>
                  <a:gd name="T9" fmla="*/ 4 h 216"/>
                  <a:gd name="T10" fmla="*/ 586 w 608"/>
                  <a:gd name="T11" fmla="*/ 8 h 216"/>
                  <a:gd name="T12" fmla="*/ 594 w 608"/>
                  <a:gd name="T13" fmla="*/ 14 h 216"/>
                  <a:gd name="T14" fmla="*/ 600 w 608"/>
                  <a:gd name="T15" fmla="*/ 22 h 216"/>
                  <a:gd name="T16" fmla="*/ 604 w 608"/>
                  <a:gd name="T17" fmla="*/ 30 h 216"/>
                  <a:gd name="T18" fmla="*/ 608 w 608"/>
                  <a:gd name="T19" fmla="*/ 40 h 216"/>
                  <a:gd name="T20" fmla="*/ 608 w 608"/>
                  <a:gd name="T21" fmla="*/ 50 h 216"/>
                  <a:gd name="T22" fmla="*/ 608 w 608"/>
                  <a:gd name="T23" fmla="*/ 166 h 216"/>
                  <a:gd name="T24" fmla="*/ 608 w 608"/>
                  <a:gd name="T25" fmla="*/ 166 h 216"/>
                  <a:gd name="T26" fmla="*/ 608 w 608"/>
                  <a:gd name="T27" fmla="*/ 176 h 216"/>
                  <a:gd name="T28" fmla="*/ 604 w 608"/>
                  <a:gd name="T29" fmla="*/ 184 h 216"/>
                  <a:gd name="T30" fmla="*/ 600 w 608"/>
                  <a:gd name="T31" fmla="*/ 194 h 216"/>
                  <a:gd name="T32" fmla="*/ 594 w 608"/>
                  <a:gd name="T33" fmla="*/ 202 h 216"/>
                  <a:gd name="T34" fmla="*/ 586 w 608"/>
                  <a:gd name="T35" fmla="*/ 208 h 216"/>
                  <a:gd name="T36" fmla="*/ 578 w 608"/>
                  <a:gd name="T37" fmla="*/ 212 h 216"/>
                  <a:gd name="T38" fmla="*/ 568 w 608"/>
                  <a:gd name="T39" fmla="*/ 214 h 216"/>
                  <a:gd name="T40" fmla="*/ 558 w 608"/>
                  <a:gd name="T41" fmla="*/ 216 h 216"/>
                  <a:gd name="T42" fmla="*/ 52 w 608"/>
                  <a:gd name="T43" fmla="*/ 216 h 216"/>
                  <a:gd name="T44" fmla="*/ 52 w 608"/>
                  <a:gd name="T45" fmla="*/ 216 h 216"/>
                  <a:gd name="T46" fmla="*/ 42 w 608"/>
                  <a:gd name="T47" fmla="*/ 214 h 216"/>
                  <a:gd name="T48" fmla="*/ 32 w 608"/>
                  <a:gd name="T49" fmla="*/ 212 h 216"/>
                  <a:gd name="T50" fmla="*/ 24 w 608"/>
                  <a:gd name="T51" fmla="*/ 208 h 216"/>
                  <a:gd name="T52" fmla="*/ 16 w 608"/>
                  <a:gd name="T53" fmla="*/ 202 h 216"/>
                  <a:gd name="T54" fmla="*/ 10 w 608"/>
                  <a:gd name="T55" fmla="*/ 194 h 216"/>
                  <a:gd name="T56" fmla="*/ 4 w 608"/>
                  <a:gd name="T57" fmla="*/ 184 h 216"/>
                  <a:gd name="T58" fmla="*/ 2 w 608"/>
                  <a:gd name="T59" fmla="*/ 176 h 216"/>
                  <a:gd name="T60" fmla="*/ 0 w 608"/>
                  <a:gd name="T61" fmla="*/ 166 h 216"/>
                  <a:gd name="T62" fmla="*/ 0 w 608"/>
                  <a:gd name="T63" fmla="*/ 50 h 216"/>
                  <a:gd name="T64" fmla="*/ 0 w 608"/>
                  <a:gd name="T65" fmla="*/ 50 h 216"/>
                  <a:gd name="T66" fmla="*/ 2 w 608"/>
                  <a:gd name="T67" fmla="*/ 40 h 216"/>
                  <a:gd name="T68" fmla="*/ 4 w 608"/>
                  <a:gd name="T69" fmla="*/ 30 h 216"/>
                  <a:gd name="T70" fmla="*/ 10 w 608"/>
                  <a:gd name="T71" fmla="*/ 22 h 216"/>
                  <a:gd name="T72" fmla="*/ 16 w 608"/>
                  <a:gd name="T73" fmla="*/ 14 h 216"/>
                  <a:gd name="T74" fmla="*/ 24 w 608"/>
                  <a:gd name="T75" fmla="*/ 8 h 216"/>
                  <a:gd name="T76" fmla="*/ 32 w 608"/>
                  <a:gd name="T77" fmla="*/ 4 h 216"/>
                  <a:gd name="T78" fmla="*/ 42 w 608"/>
                  <a:gd name="T79" fmla="*/ 0 h 216"/>
                  <a:gd name="T80" fmla="*/ 52 w 608"/>
                  <a:gd name="T81" fmla="*/ 0 h 216"/>
                  <a:gd name="T82" fmla="*/ 52 w 608"/>
                  <a:gd name="T83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2" y="0"/>
                    </a:moveTo>
                    <a:lnTo>
                      <a:pt x="558" y="0"/>
                    </a:lnTo>
                    <a:lnTo>
                      <a:pt x="558" y="0"/>
                    </a:lnTo>
                    <a:lnTo>
                      <a:pt x="568" y="0"/>
                    </a:lnTo>
                    <a:lnTo>
                      <a:pt x="578" y="4"/>
                    </a:lnTo>
                    <a:lnTo>
                      <a:pt x="586" y="8"/>
                    </a:lnTo>
                    <a:lnTo>
                      <a:pt x="594" y="14"/>
                    </a:lnTo>
                    <a:lnTo>
                      <a:pt x="600" y="22"/>
                    </a:lnTo>
                    <a:lnTo>
                      <a:pt x="604" y="30"/>
                    </a:lnTo>
                    <a:lnTo>
                      <a:pt x="608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8" y="176"/>
                    </a:lnTo>
                    <a:lnTo>
                      <a:pt x="604" y="184"/>
                    </a:lnTo>
                    <a:lnTo>
                      <a:pt x="600" y="194"/>
                    </a:lnTo>
                    <a:lnTo>
                      <a:pt x="594" y="202"/>
                    </a:lnTo>
                    <a:lnTo>
                      <a:pt x="586" y="208"/>
                    </a:lnTo>
                    <a:lnTo>
                      <a:pt x="578" y="212"/>
                    </a:lnTo>
                    <a:lnTo>
                      <a:pt x="568" y="214"/>
                    </a:lnTo>
                    <a:lnTo>
                      <a:pt x="558" y="216"/>
                    </a:lnTo>
                    <a:lnTo>
                      <a:pt x="52" y="216"/>
                    </a:lnTo>
                    <a:lnTo>
                      <a:pt x="52" y="216"/>
                    </a:lnTo>
                    <a:lnTo>
                      <a:pt x="42" y="214"/>
                    </a:lnTo>
                    <a:lnTo>
                      <a:pt x="32" y="212"/>
                    </a:lnTo>
                    <a:lnTo>
                      <a:pt x="24" y="208"/>
                    </a:lnTo>
                    <a:lnTo>
                      <a:pt x="16" y="202"/>
                    </a:lnTo>
                    <a:lnTo>
                      <a:pt x="10" y="194"/>
                    </a:lnTo>
                    <a:lnTo>
                      <a:pt x="4" y="184"/>
                    </a:lnTo>
                    <a:lnTo>
                      <a:pt x="2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40"/>
                    </a:lnTo>
                    <a:lnTo>
                      <a:pt x="4" y="30"/>
                    </a:lnTo>
                    <a:lnTo>
                      <a:pt x="10" y="22"/>
                    </a:lnTo>
                    <a:lnTo>
                      <a:pt x="16" y="14"/>
                    </a:lnTo>
                    <a:lnTo>
                      <a:pt x="24" y="8"/>
                    </a:lnTo>
                    <a:lnTo>
                      <a:pt x="32" y="4"/>
                    </a:lnTo>
                    <a:lnTo>
                      <a:pt x="42" y="0"/>
                    </a:lnTo>
                    <a:lnTo>
                      <a:pt x="52" y="0"/>
                    </a:lnTo>
                    <a:lnTo>
                      <a:pt x="52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32" name="Line 64">
                <a:extLst>
                  <a:ext uri="{FF2B5EF4-FFF2-40B4-BE49-F238E27FC236}">
                    <a16:creationId xmlns:a16="http://schemas.microsoft.com/office/drawing/2014/main" id="{B4CE844D-D3E6-498D-9270-7D842EAAA0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V="1">
                <a:off x="5687858" y="-1089898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33" name="Line 65">
                <a:extLst>
                  <a:ext uri="{FF2B5EF4-FFF2-40B4-BE49-F238E27FC236}">
                    <a16:creationId xmlns:a16="http://schemas.microsoft.com/office/drawing/2014/main" id="{D56820C4-3C27-423A-AFCB-72359BEEBC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 flipV="1">
                <a:off x="5709832" y="-1144292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2312CAA0-671C-4C0C-913C-4D2712B1FED8}"/>
                </a:ext>
              </a:extLst>
            </p:cNvPr>
            <p:cNvGrpSpPr/>
            <p:nvPr/>
          </p:nvGrpSpPr>
          <p:grpSpPr>
            <a:xfrm>
              <a:off x="4296959" y="2387281"/>
              <a:ext cx="548312" cy="265533"/>
              <a:chOff x="5165786" y="-1303968"/>
              <a:chExt cx="1431619" cy="693296"/>
            </a:xfrm>
          </p:grpSpPr>
          <p:sp>
            <p:nvSpPr>
              <p:cNvPr id="135" name="Freeform 55">
                <a:extLst>
                  <a:ext uri="{FF2B5EF4-FFF2-40B4-BE49-F238E27FC236}">
                    <a16:creationId xmlns:a16="http://schemas.microsoft.com/office/drawing/2014/main" id="{9E7AB083-C422-4E8E-923C-51161CA67F5F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664593" y="-830401"/>
                <a:ext cx="213106" cy="41284"/>
              </a:xfrm>
              <a:custGeom>
                <a:avLst/>
                <a:gdLst>
                  <a:gd name="T0" fmla="*/ 234 w 234"/>
                  <a:gd name="T1" fmla="*/ 0 h 48"/>
                  <a:gd name="T2" fmla="*/ 234 w 234"/>
                  <a:gd name="T3" fmla="*/ 0 h 48"/>
                  <a:gd name="T4" fmla="*/ 222 w 234"/>
                  <a:gd name="T5" fmla="*/ 12 h 48"/>
                  <a:gd name="T6" fmla="*/ 208 w 234"/>
                  <a:gd name="T7" fmla="*/ 22 h 48"/>
                  <a:gd name="T8" fmla="*/ 194 w 234"/>
                  <a:gd name="T9" fmla="*/ 30 h 48"/>
                  <a:gd name="T10" fmla="*/ 180 w 234"/>
                  <a:gd name="T11" fmla="*/ 36 h 48"/>
                  <a:gd name="T12" fmla="*/ 164 w 234"/>
                  <a:gd name="T13" fmla="*/ 42 h 48"/>
                  <a:gd name="T14" fmla="*/ 150 w 234"/>
                  <a:gd name="T15" fmla="*/ 46 h 48"/>
                  <a:gd name="T16" fmla="*/ 134 w 234"/>
                  <a:gd name="T17" fmla="*/ 48 h 48"/>
                  <a:gd name="T18" fmla="*/ 118 w 234"/>
                  <a:gd name="T19" fmla="*/ 48 h 48"/>
                  <a:gd name="T20" fmla="*/ 102 w 234"/>
                  <a:gd name="T21" fmla="*/ 48 h 48"/>
                  <a:gd name="T22" fmla="*/ 86 w 234"/>
                  <a:gd name="T23" fmla="*/ 46 h 48"/>
                  <a:gd name="T24" fmla="*/ 70 w 234"/>
                  <a:gd name="T25" fmla="*/ 42 h 48"/>
                  <a:gd name="T26" fmla="*/ 56 w 234"/>
                  <a:gd name="T27" fmla="*/ 36 h 48"/>
                  <a:gd name="T28" fmla="*/ 40 w 234"/>
                  <a:gd name="T29" fmla="*/ 30 h 48"/>
                  <a:gd name="T30" fmla="*/ 26 w 234"/>
                  <a:gd name="T31" fmla="*/ 20 h 48"/>
                  <a:gd name="T32" fmla="*/ 14 w 234"/>
                  <a:gd name="T33" fmla="*/ 10 h 48"/>
                  <a:gd name="T34" fmla="*/ 0 w 234"/>
                  <a:gd name="T3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4" h="48">
                    <a:moveTo>
                      <a:pt x="234" y="0"/>
                    </a:moveTo>
                    <a:lnTo>
                      <a:pt x="234" y="0"/>
                    </a:lnTo>
                    <a:lnTo>
                      <a:pt x="222" y="12"/>
                    </a:lnTo>
                    <a:lnTo>
                      <a:pt x="208" y="22"/>
                    </a:lnTo>
                    <a:lnTo>
                      <a:pt x="194" y="30"/>
                    </a:lnTo>
                    <a:lnTo>
                      <a:pt x="180" y="36"/>
                    </a:lnTo>
                    <a:lnTo>
                      <a:pt x="164" y="42"/>
                    </a:lnTo>
                    <a:lnTo>
                      <a:pt x="150" y="46"/>
                    </a:lnTo>
                    <a:lnTo>
                      <a:pt x="134" y="48"/>
                    </a:lnTo>
                    <a:lnTo>
                      <a:pt x="118" y="48"/>
                    </a:lnTo>
                    <a:lnTo>
                      <a:pt x="102" y="48"/>
                    </a:lnTo>
                    <a:lnTo>
                      <a:pt x="86" y="46"/>
                    </a:lnTo>
                    <a:lnTo>
                      <a:pt x="70" y="42"/>
                    </a:lnTo>
                    <a:lnTo>
                      <a:pt x="56" y="36"/>
                    </a:lnTo>
                    <a:lnTo>
                      <a:pt x="40" y="30"/>
                    </a:lnTo>
                    <a:lnTo>
                      <a:pt x="26" y="20"/>
                    </a:lnTo>
                    <a:lnTo>
                      <a:pt x="14" y="1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36" name="Freeform 56">
                <a:extLst>
                  <a:ext uri="{FF2B5EF4-FFF2-40B4-BE49-F238E27FC236}">
                    <a16:creationId xmlns:a16="http://schemas.microsoft.com/office/drawing/2014/main" id="{DC5A77DE-87FD-42A0-9BE2-9A69A4286614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563940" y="-770551"/>
                <a:ext cx="355176" cy="70528"/>
              </a:xfrm>
              <a:custGeom>
                <a:avLst/>
                <a:gdLst>
                  <a:gd name="T0" fmla="*/ 390 w 390"/>
                  <a:gd name="T1" fmla="*/ 4 h 82"/>
                  <a:gd name="T2" fmla="*/ 390 w 390"/>
                  <a:gd name="T3" fmla="*/ 4 h 82"/>
                  <a:gd name="T4" fmla="*/ 370 w 390"/>
                  <a:gd name="T5" fmla="*/ 22 h 82"/>
                  <a:gd name="T6" fmla="*/ 348 w 390"/>
                  <a:gd name="T7" fmla="*/ 38 h 82"/>
                  <a:gd name="T8" fmla="*/ 324 w 390"/>
                  <a:gd name="T9" fmla="*/ 52 h 82"/>
                  <a:gd name="T10" fmla="*/ 300 w 390"/>
                  <a:gd name="T11" fmla="*/ 64 h 82"/>
                  <a:gd name="T12" fmla="*/ 274 w 390"/>
                  <a:gd name="T13" fmla="*/ 72 h 82"/>
                  <a:gd name="T14" fmla="*/ 248 w 390"/>
                  <a:gd name="T15" fmla="*/ 78 h 82"/>
                  <a:gd name="T16" fmla="*/ 222 w 390"/>
                  <a:gd name="T17" fmla="*/ 82 h 82"/>
                  <a:gd name="T18" fmla="*/ 196 w 390"/>
                  <a:gd name="T19" fmla="*/ 82 h 82"/>
                  <a:gd name="T20" fmla="*/ 168 w 390"/>
                  <a:gd name="T21" fmla="*/ 82 h 82"/>
                  <a:gd name="T22" fmla="*/ 142 w 390"/>
                  <a:gd name="T23" fmla="*/ 78 h 82"/>
                  <a:gd name="T24" fmla="*/ 116 w 390"/>
                  <a:gd name="T25" fmla="*/ 70 h 82"/>
                  <a:gd name="T26" fmla="*/ 92 w 390"/>
                  <a:gd name="T27" fmla="*/ 62 h 82"/>
                  <a:gd name="T28" fmla="*/ 68 w 390"/>
                  <a:gd name="T29" fmla="*/ 50 h 82"/>
                  <a:gd name="T30" fmla="*/ 44 w 390"/>
                  <a:gd name="T31" fmla="*/ 36 h 82"/>
                  <a:gd name="T32" fmla="*/ 22 w 390"/>
                  <a:gd name="T33" fmla="*/ 20 h 82"/>
                  <a:gd name="T34" fmla="*/ 0 w 390"/>
                  <a:gd name="T35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0" h="82">
                    <a:moveTo>
                      <a:pt x="390" y="4"/>
                    </a:moveTo>
                    <a:lnTo>
                      <a:pt x="390" y="4"/>
                    </a:lnTo>
                    <a:lnTo>
                      <a:pt x="370" y="22"/>
                    </a:lnTo>
                    <a:lnTo>
                      <a:pt x="348" y="38"/>
                    </a:lnTo>
                    <a:lnTo>
                      <a:pt x="324" y="52"/>
                    </a:lnTo>
                    <a:lnTo>
                      <a:pt x="300" y="64"/>
                    </a:lnTo>
                    <a:lnTo>
                      <a:pt x="274" y="72"/>
                    </a:lnTo>
                    <a:lnTo>
                      <a:pt x="248" y="78"/>
                    </a:lnTo>
                    <a:lnTo>
                      <a:pt x="222" y="82"/>
                    </a:lnTo>
                    <a:lnTo>
                      <a:pt x="196" y="82"/>
                    </a:lnTo>
                    <a:lnTo>
                      <a:pt x="168" y="82"/>
                    </a:lnTo>
                    <a:lnTo>
                      <a:pt x="142" y="78"/>
                    </a:lnTo>
                    <a:lnTo>
                      <a:pt x="116" y="70"/>
                    </a:lnTo>
                    <a:lnTo>
                      <a:pt x="92" y="62"/>
                    </a:lnTo>
                    <a:lnTo>
                      <a:pt x="68" y="50"/>
                    </a:lnTo>
                    <a:lnTo>
                      <a:pt x="44" y="36"/>
                    </a:lnTo>
                    <a:lnTo>
                      <a:pt x="22" y="2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37" name="Freeform 57">
                <a:extLst>
                  <a:ext uri="{FF2B5EF4-FFF2-40B4-BE49-F238E27FC236}">
                    <a16:creationId xmlns:a16="http://schemas.microsoft.com/office/drawing/2014/main" id="{52736E57-3B7A-4561-B33A-36C636F977DE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464734" y="-708723"/>
                <a:ext cx="495426" cy="98051"/>
              </a:xfrm>
              <a:custGeom>
                <a:avLst/>
                <a:gdLst>
                  <a:gd name="T0" fmla="*/ 544 w 544"/>
                  <a:gd name="T1" fmla="*/ 4 h 114"/>
                  <a:gd name="T2" fmla="*/ 544 w 544"/>
                  <a:gd name="T3" fmla="*/ 4 h 114"/>
                  <a:gd name="T4" fmla="*/ 516 w 544"/>
                  <a:gd name="T5" fmla="*/ 30 h 114"/>
                  <a:gd name="T6" fmla="*/ 484 w 544"/>
                  <a:gd name="T7" fmla="*/ 52 h 114"/>
                  <a:gd name="T8" fmla="*/ 450 w 544"/>
                  <a:gd name="T9" fmla="*/ 72 h 114"/>
                  <a:gd name="T10" fmla="*/ 416 w 544"/>
                  <a:gd name="T11" fmla="*/ 88 h 114"/>
                  <a:gd name="T12" fmla="*/ 382 w 544"/>
                  <a:gd name="T13" fmla="*/ 100 h 114"/>
                  <a:gd name="T14" fmla="*/ 344 w 544"/>
                  <a:gd name="T15" fmla="*/ 108 h 114"/>
                  <a:gd name="T16" fmla="*/ 308 w 544"/>
                  <a:gd name="T17" fmla="*/ 114 h 114"/>
                  <a:gd name="T18" fmla="*/ 272 w 544"/>
                  <a:gd name="T19" fmla="*/ 114 h 114"/>
                  <a:gd name="T20" fmla="*/ 234 w 544"/>
                  <a:gd name="T21" fmla="*/ 112 h 114"/>
                  <a:gd name="T22" fmla="*/ 198 w 544"/>
                  <a:gd name="T23" fmla="*/ 108 h 114"/>
                  <a:gd name="T24" fmla="*/ 162 w 544"/>
                  <a:gd name="T25" fmla="*/ 98 h 114"/>
                  <a:gd name="T26" fmla="*/ 126 w 544"/>
                  <a:gd name="T27" fmla="*/ 86 h 114"/>
                  <a:gd name="T28" fmla="*/ 92 w 544"/>
                  <a:gd name="T29" fmla="*/ 70 h 114"/>
                  <a:gd name="T30" fmla="*/ 60 w 544"/>
                  <a:gd name="T31" fmla="*/ 50 h 114"/>
                  <a:gd name="T32" fmla="*/ 28 w 544"/>
                  <a:gd name="T33" fmla="*/ 26 h 114"/>
                  <a:gd name="T34" fmla="*/ 0 w 544"/>
                  <a:gd name="T3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4" h="114">
                    <a:moveTo>
                      <a:pt x="544" y="4"/>
                    </a:moveTo>
                    <a:lnTo>
                      <a:pt x="544" y="4"/>
                    </a:lnTo>
                    <a:lnTo>
                      <a:pt x="516" y="30"/>
                    </a:lnTo>
                    <a:lnTo>
                      <a:pt x="484" y="52"/>
                    </a:lnTo>
                    <a:lnTo>
                      <a:pt x="450" y="72"/>
                    </a:lnTo>
                    <a:lnTo>
                      <a:pt x="416" y="88"/>
                    </a:lnTo>
                    <a:lnTo>
                      <a:pt x="382" y="100"/>
                    </a:lnTo>
                    <a:lnTo>
                      <a:pt x="344" y="108"/>
                    </a:lnTo>
                    <a:lnTo>
                      <a:pt x="308" y="114"/>
                    </a:lnTo>
                    <a:lnTo>
                      <a:pt x="272" y="114"/>
                    </a:lnTo>
                    <a:lnTo>
                      <a:pt x="234" y="112"/>
                    </a:lnTo>
                    <a:lnTo>
                      <a:pt x="198" y="108"/>
                    </a:lnTo>
                    <a:lnTo>
                      <a:pt x="162" y="98"/>
                    </a:lnTo>
                    <a:lnTo>
                      <a:pt x="126" y="86"/>
                    </a:lnTo>
                    <a:lnTo>
                      <a:pt x="92" y="70"/>
                    </a:lnTo>
                    <a:lnTo>
                      <a:pt x="60" y="50"/>
                    </a:lnTo>
                    <a:lnTo>
                      <a:pt x="28" y="26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38" name="Freeform 59">
                <a:extLst>
                  <a:ext uri="{FF2B5EF4-FFF2-40B4-BE49-F238E27FC236}">
                    <a16:creationId xmlns:a16="http://schemas.microsoft.com/office/drawing/2014/main" id="{DB921F76-0EAA-4218-B1C1-0CB43CA3DFC0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6043694" y="-978076"/>
                <a:ext cx="553711" cy="185780"/>
              </a:xfrm>
              <a:custGeom>
                <a:avLst/>
                <a:gdLst>
                  <a:gd name="T0" fmla="*/ 556 w 608"/>
                  <a:gd name="T1" fmla="*/ 216 h 216"/>
                  <a:gd name="T2" fmla="*/ 50 w 608"/>
                  <a:gd name="T3" fmla="*/ 216 h 216"/>
                  <a:gd name="T4" fmla="*/ 50 w 608"/>
                  <a:gd name="T5" fmla="*/ 216 h 216"/>
                  <a:gd name="T6" fmla="*/ 40 w 608"/>
                  <a:gd name="T7" fmla="*/ 214 h 216"/>
                  <a:gd name="T8" fmla="*/ 30 w 608"/>
                  <a:gd name="T9" fmla="*/ 212 h 216"/>
                  <a:gd name="T10" fmla="*/ 22 w 608"/>
                  <a:gd name="T11" fmla="*/ 208 h 216"/>
                  <a:gd name="T12" fmla="*/ 14 w 608"/>
                  <a:gd name="T13" fmla="*/ 202 h 216"/>
                  <a:gd name="T14" fmla="*/ 8 w 608"/>
                  <a:gd name="T15" fmla="*/ 194 h 216"/>
                  <a:gd name="T16" fmla="*/ 4 w 608"/>
                  <a:gd name="T17" fmla="*/ 184 h 216"/>
                  <a:gd name="T18" fmla="*/ 0 w 608"/>
                  <a:gd name="T19" fmla="*/ 176 h 216"/>
                  <a:gd name="T20" fmla="*/ 0 w 608"/>
                  <a:gd name="T21" fmla="*/ 166 h 216"/>
                  <a:gd name="T22" fmla="*/ 0 w 608"/>
                  <a:gd name="T23" fmla="*/ 50 h 216"/>
                  <a:gd name="T24" fmla="*/ 0 w 608"/>
                  <a:gd name="T25" fmla="*/ 50 h 216"/>
                  <a:gd name="T26" fmla="*/ 0 w 608"/>
                  <a:gd name="T27" fmla="*/ 40 h 216"/>
                  <a:gd name="T28" fmla="*/ 4 w 608"/>
                  <a:gd name="T29" fmla="*/ 30 h 216"/>
                  <a:gd name="T30" fmla="*/ 8 w 608"/>
                  <a:gd name="T31" fmla="*/ 22 h 216"/>
                  <a:gd name="T32" fmla="*/ 14 w 608"/>
                  <a:gd name="T33" fmla="*/ 14 h 216"/>
                  <a:gd name="T34" fmla="*/ 22 w 608"/>
                  <a:gd name="T35" fmla="*/ 8 h 216"/>
                  <a:gd name="T36" fmla="*/ 30 w 608"/>
                  <a:gd name="T37" fmla="*/ 4 h 216"/>
                  <a:gd name="T38" fmla="*/ 40 w 608"/>
                  <a:gd name="T39" fmla="*/ 0 h 216"/>
                  <a:gd name="T40" fmla="*/ 50 w 608"/>
                  <a:gd name="T41" fmla="*/ 0 h 216"/>
                  <a:gd name="T42" fmla="*/ 556 w 608"/>
                  <a:gd name="T43" fmla="*/ 0 h 216"/>
                  <a:gd name="T44" fmla="*/ 556 w 608"/>
                  <a:gd name="T45" fmla="*/ 0 h 216"/>
                  <a:gd name="T46" fmla="*/ 568 w 608"/>
                  <a:gd name="T47" fmla="*/ 0 h 216"/>
                  <a:gd name="T48" fmla="*/ 576 w 608"/>
                  <a:gd name="T49" fmla="*/ 4 h 216"/>
                  <a:gd name="T50" fmla="*/ 586 w 608"/>
                  <a:gd name="T51" fmla="*/ 8 h 216"/>
                  <a:gd name="T52" fmla="*/ 592 w 608"/>
                  <a:gd name="T53" fmla="*/ 14 h 216"/>
                  <a:gd name="T54" fmla="*/ 598 w 608"/>
                  <a:gd name="T55" fmla="*/ 22 h 216"/>
                  <a:gd name="T56" fmla="*/ 604 w 608"/>
                  <a:gd name="T57" fmla="*/ 30 h 216"/>
                  <a:gd name="T58" fmla="*/ 606 w 608"/>
                  <a:gd name="T59" fmla="*/ 40 h 216"/>
                  <a:gd name="T60" fmla="*/ 608 w 608"/>
                  <a:gd name="T61" fmla="*/ 50 h 216"/>
                  <a:gd name="T62" fmla="*/ 608 w 608"/>
                  <a:gd name="T63" fmla="*/ 166 h 216"/>
                  <a:gd name="T64" fmla="*/ 608 w 608"/>
                  <a:gd name="T65" fmla="*/ 166 h 216"/>
                  <a:gd name="T66" fmla="*/ 606 w 608"/>
                  <a:gd name="T67" fmla="*/ 176 h 216"/>
                  <a:gd name="T68" fmla="*/ 604 w 608"/>
                  <a:gd name="T69" fmla="*/ 184 h 216"/>
                  <a:gd name="T70" fmla="*/ 598 w 608"/>
                  <a:gd name="T71" fmla="*/ 194 h 216"/>
                  <a:gd name="T72" fmla="*/ 592 w 608"/>
                  <a:gd name="T73" fmla="*/ 202 h 216"/>
                  <a:gd name="T74" fmla="*/ 586 w 608"/>
                  <a:gd name="T75" fmla="*/ 208 h 216"/>
                  <a:gd name="T76" fmla="*/ 576 w 608"/>
                  <a:gd name="T77" fmla="*/ 212 h 216"/>
                  <a:gd name="T78" fmla="*/ 568 w 608"/>
                  <a:gd name="T79" fmla="*/ 214 h 216"/>
                  <a:gd name="T80" fmla="*/ 556 w 608"/>
                  <a:gd name="T81" fmla="*/ 216 h 216"/>
                  <a:gd name="T82" fmla="*/ 556 w 608"/>
                  <a:gd name="T8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56" y="216"/>
                    </a:moveTo>
                    <a:lnTo>
                      <a:pt x="50" y="216"/>
                    </a:lnTo>
                    <a:lnTo>
                      <a:pt x="50" y="216"/>
                    </a:lnTo>
                    <a:lnTo>
                      <a:pt x="40" y="214"/>
                    </a:lnTo>
                    <a:lnTo>
                      <a:pt x="30" y="212"/>
                    </a:lnTo>
                    <a:lnTo>
                      <a:pt x="22" y="208"/>
                    </a:lnTo>
                    <a:lnTo>
                      <a:pt x="14" y="202"/>
                    </a:lnTo>
                    <a:lnTo>
                      <a:pt x="8" y="194"/>
                    </a:lnTo>
                    <a:lnTo>
                      <a:pt x="4" y="184"/>
                    </a:lnTo>
                    <a:lnTo>
                      <a:pt x="0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0"/>
                    </a:lnTo>
                    <a:lnTo>
                      <a:pt x="4" y="30"/>
                    </a:lnTo>
                    <a:lnTo>
                      <a:pt x="8" y="22"/>
                    </a:lnTo>
                    <a:lnTo>
                      <a:pt x="14" y="14"/>
                    </a:lnTo>
                    <a:lnTo>
                      <a:pt x="22" y="8"/>
                    </a:lnTo>
                    <a:lnTo>
                      <a:pt x="30" y="4"/>
                    </a:lnTo>
                    <a:lnTo>
                      <a:pt x="40" y="0"/>
                    </a:lnTo>
                    <a:lnTo>
                      <a:pt x="50" y="0"/>
                    </a:lnTo>
                    <a:lnTo>
                      <a:pt x="556" y="0"/>
                    </a:lnTo>
                    <a:lnTo>
                      <a:pt x="556" y="0"/>
                    </a:lnTo>
                    <a:lnTo>
                      <a:pt x="568" y="0"/>
                    </a:lnTo>
                    <a:lnTo>
                      <a:pt x="576" y="4"/>
                    </a:lnTo>
                    <a:lnTo>
                      <a:pt x="586" y="8"/>
                    </a:lnTo>
                    <a:lnTo>
                      <a:pt x="592" y="14"/>
                    </a:lnTo>
                    <a:lnTo>
                      <a:pt x="598" y="22"/>
                    </a:lnTo>
                    <a:lnTo>
                      <a:pt x="604" y="30"/>
                    </a:lnTo>
                    <a:lnTo>
                      <a:pt x="606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6" y="176"/>
                    </a:lnTo>
                    <a:lnTo>
                      <a:pt x="604" y="184"/>
                    </a:lnTo>
                    <a:lnTo>
                      <a:pt x="598" y="194"/>
                    </a:lnTo>
                    <a:lnTo>
                      <a:pt x="592" y="202"/>
                    </a:lnTo>
                    <a:lnTo>
                      <a:pt x="586" y="208"/>
                    </a:lnTo>
                    <a:lnTo>
                      <a:pt x="576" y="212"/>
                    </a:lnTo>
                    <a:lnTo>
                      <a:pt x="568" y="214"/>
                    </a:lnTo>
                    <a:lnTo>
                      <a:pt x="556" y="216"/>
                    </a:lnTo>
                    <a:lnTo>
                      <a:pt x="556" y="216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39" name="Line 60">
                <a:extLst>
                  <a:ext uri="{FF2B5EF4-FFF2-40B4-BE49-F238E27FC236}">
                    <a16:creationId xmlns:a16="http://schemas.microsoft.com/office/drawing/2014/main" id="{7DCE31F1-8201-4C6D-98F2-43D5C35053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>
                <a:off x="5969692" y="-1045932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40" name="Line 61">
                <a:extLst>
                  <a:ext uri="{FF2B5EF4-FFF2-40B4-BE49-F238E27FC236}">
                    <a16:creationId xmlns:a16="http://schemas.microsoft.com/office/drawing/2014/main" id="{B004AD63-316D-4133-81C6-10EDB70F9D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>
                <a:off x="5947718" y="-989818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41" name="Freeform 62">
                <a:extLst>
                  <a:ext uri="{FF2B5EF4-FFF2-40B4-BE49-F238E27FC236}">
                    <a16:creationId xmlns:a16="http://schemas.microsoft.com/office/drawing/2014/main" id="{EF165DE7-6B35-4352-86E2-F0431AF7D4D8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802306" y="-1123505"/>
                <a:ext cx="160285" cy="151376"/>
              </a:xfrm>
              <a:custGeom>
                <a:avLst/>
                <a:gdLst>
                  <a:gd name="T0" fmla="*/ 0 w 176"/>
                  <a:gd name="T1" fmla="*/ 88 h 176"/>
                  <a:gd name="T2" fmla="*/ 0 w 176"/>
                  <a:gd name="T3" fmla="*/ 88 h 176"/>
                  <a:gd name="T4" fmla="*/ 0 w 176"/>
                  <a:gd name="T5" fmla="*/ 70 h 176"/>
                  <a:gd name="T6" fmla="*/ 6 w 176"/>
                  <a:gd name="T7" fmla="*/ 54 h 176"/>
                  <a:gd name="T8" fmla="*/ 14 w 176"/>
                  <a:gd name="T9" fmla="*/ 38 h 176"/>
                  <a:gd name="T10" fmla="*/ 24 w 176"/>
                  <a:gd name="T11" fmla="*/ 26 h 176"/>
                  <a:gd name="T12" fmla="*/ 38 w 176"/>
                  <a:gd name="T13" fmla="*/ 14 h 176"/>
                  <a:gd name="T14" fmla="*/ 52 w 176"/>
                  <a:gd name="T15" fmla="*/ 6 h 176"/>
                  <a:gd name="T16" fmla="*/ 70 w 176"/>
                  <a:gd name="T17" fmla="*/ 2 h 176"/>
                  <a:gd name="T18" fmla="*/ 88 w 176"/>
                  <a:gd name="T19" fmla="*/ 0 h 176"/>
                  <a:gd name="T20" fmla="*/ 88 w 176"/>
                  <a:gd name="T21" fmla="*/ 0 h 176"/>
                  <a:gd name="T22" fmla="*/ 104 w 176"/>
                  <a:gd name="T23" fmla="*/ 2 h 176"/>
                  <a:gd name="T24" fmla="*/ 122 w 176"/>
                  <a:gd name="T25" fmla="*/ 6 h 176"/>
                  <a:gd name="T26" fmla="*/ 136 w 176"/>
                  <a:gd name="T27" fmla="*/ 14 h 176"/>
                  <a:gd name="T28" fmla="*/ 150 w 176"/>
                  <a:gd name="T29" fmla="*/ 26 h 176"/>
                  <a:gd name="T30" fmla="*/ 160 w 176"/>
                  <a:gd name="T31" fmla="*/ 38 h 176"/>
                  <a:gd name="T32" fmla="*/ 168 w 176"/>
                  <a:gd name="T33" fmla="*/ 54 h 176"/>
                  <a:gd name="T34" fmla="*/ 174 w 176"/>
                  <a:gd name="T35" fmla="*/ 70 h 176"/>
                  <a:gd name="T36" fmla="*/ 176 w 176"/>
                  <a:gd name="T37" fmla="*/ 88 h 176"/>
                  <a:gd name="T38" fmla="*/ 176 w 176"/>
                  <a:gd name="T39" fmla="*/ 88 h 176"/>
                  <a:gd name="T40" fmla="*/ 174 w 176"/>
                  <a:gd name="T41" fmla="*/ 106 h 176"/>
                  <a:gd name="T42" fmla="*/ 168 w 176"/>
                  <a:gd name="T43" fmla="*/ 122 h 176"/>
                  <a:gd name="T44" fmla="*/ 160 w 176"/>
                  <a:gd name="T45" fmla="*/ 138 h 176"/>
                  <a:gd name="T46" fmla="*/ 150 w 176"/>
                  <a:gd name="T47" fmla="*/ 150 h 176"/>
                  <a:gd name="T48" fmla="*/ 136 w 176"/>
                  <a:gd name="T49" fmla="*/ 160 h 176"/>
                  <a:gd name="T50" fmla="*/ 122 w 176"/>
                  <a:gd name="T51" fmla="*/ 170 h 176"/>
                  <a:gd name="T52" fmla="*/ 104 w 176"/>
                  <a:gd name="T53" fmla="*/ 174 h 176"/>
                  <a:gd name="T54" fmla="*/ 88 w 176"/>
                  <a:gd name="T55" fmla="*/ 176 h 176"/>
                  <a:gd name="T56" fmla="*/ 88 w 176"/>
                  <a:gd name="T57" fmla="*/ 176 h 176"/>
                  <a:gd name="T58" fmla="*/ 70 w 176"/>
                  <a:gd name="T59" fmla="*/ 174 h 176"/>
                  <a:gd name="T60" fmla="*/ 52 w 176"/>
                  <a:gd name="T61" fmla="*/ 170 h 176"/>
                  <a:gd name="T62" fmla="*/ 38 w 176"/>
                  <a:gd name="T63" fmla="*/ 160 h 176"/>
                  <a:gd name="T64" fmla="*/ 24 w 176"/>
                  <a:gd name="T65" fmla="*/ 150 h 176"/>
                  <a:gd name="T66" fmla="*/ 14 w 176"/>
                  <a:gd name="T67" fmla="*/ 138 h 176"/>
                  <a:gd name="T68" fmla="*/ 6 w 176"/>
                  <a:gd name="T69" fmla="*/ 122 h 176"/>
                  <a:gd name="T70" fmla="*/ 0 w 176"/>
                  <a:gd name="T71" fmla="*/ 106 h 176"/>
                  <a:gd name="T72" fmla="*/ 0 w 176"/>
                  <a:gd name="T73" fmla="*/ 88 h 176"/>
                  <a:gd name="T74" fmla="*/ 0 w 176"/>
                  <a:gd name="T75" fmla="*/ 8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6" h="176">
                    <a:moveTo>
                      <a:pt x="0" y="88"/>
                    </a:moveTo>
                    <a:lnTo>
                      <a:pt x="0" y="88"/>
                    </a:lnTo>
                    <a:lnTo>
                      <a:pt x="0" y="70"/>
                    </a:lnTo>
                    <a:lnTo>
                      <a:pt x="6" y="54"/>
                    </a:lnTo>
                    <a:lnTo>
                      <a:pt x="14" y="38"/>
                    </a:lnTo>
                    <a:lnTo>
                      <a:pt x="24" y="26"/>
                    </a:lnTo>
                    <a:lnTo>
                      <a:pt x="38" y="14"/>
                    </a:lnTo>
                    <a:lnTo>
                      <a:pt x="52" y="6"/>
                    </a:lnTo>
                    <a:lnTo>
                      <a:pt x="70" y="2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104" y="2"/>
                    </a:lnTo>
                    <a:lnTo>
                      <a:pt x="122" y="6"/>
                    </a:lnTo>
                    <a:lnTo>
                      <a:pt x="136" y="14"/>
                    </a:lnTo>
                    <a:lnTo>
                      <a:pt x="150" y="26"/>
                    </a:lnTo>
                    <a:lnTo>
                      <a:pt x="160" y="38"/>
                    </a:lnTo>
                    <a:lnTo>
                      <a:pt x="168" y="54"/>
                    </a:lnTo>
                    <a:lnTo>
                      <a:pt x="174" y="70"/>
                    </a:lnTo>
                    <a:lnTo>
                      <a:pt x="176" y="88"/>
                    </a:lnTo>
                    <a:lnTo>
                      <a:pt x="176" y="88"/>
                    </a:lnTo>
                    <a:lnTo>
                      <a:pt x="174" y="106"/>
                    </a:lnTo>
                    <a:lnTo>
                      <a:pt x="168" y="122"/>
                    </a:lnTo>
                    <a:lnTo>
                      <a:pt x="160" y="138"/>
                    </a:lnTo>
                    <a:lnTo>
                      <a:pt x="150" y="150"/>
                    </a:lnTo>
                    <a:lnTo>
                      <a:pt x="136" y="160"/>
                    </a:lnTo>
                    <a:lnTo>
                      <a:pt x="122" y="170"/>
                    </a:lnTo>
                    <a:lnTo>
                      <a:pt x="104" y="174"/>
                    </a:lnTo>
                    <a:lnTo>
                      <a:pt x="88" y="176"/>
                    </a:lnTo>
                    <a:lnTo>
                      <a:pt x="88" y="176"/>
                    </a:lnTo>
                    <a:lnTo>
                      <a:pt x="70" y="174"/>
                    </a:lnTo>
                    <a:lnTo>
                      <a:pt x="52" y="170"/>
                    </a:lnTo>
                    <a:lnTo>
                      <a:pt x="38" y="160"/>
                    </a:lnTo>
                    <a:lnTo>
                      <a:pt x="24" y="150"/>
                    </a:lnTo>
                    <a:lnTo>
                      <a:pt x="14" y="138"/>
                    </a:lnTo>
                    <a:lnTo>
                      <a:pt x="6" y="122"/>
                    </a:lnTo>
                    <a:lnTo>
                      <a:pt x="0" y="106"/>
                    </a:lnTo>
                    <a:lnTo>
                      <a:pt x="0" y="88"/>
                    </a:lnTo>
                    <a:lnTo>
                      <a:pt x="0" y="88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42" name="Freeform 63">
                <a:extLst>
                  <a:ext uri="{FF2B5EF4-FFF2-40B4-BE49-F238E27FC236}">
                    <a16:creationId xmlns:a16="http://schemas.microsoft.com/office/drawing/2014/main" id="{56C4FE2F-4274-4CBB-A380-41412741736D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165786" y="-1303968"/>
                <a:ext cx="553711" cy="185780"/>
              </a:xfrm>
              <a:custGeom>
                <a:avLst/>
                <a:gdLst>
                  <a:gd name="T0" fmla="*/ 52 w 608"/>
                  <a:gd name="T1" fmla="*/ 0 h 216"/>
                  <a:gd name="T2" fmla="*/ 558 w 608"/>
                  <a:gd name="T3" fmla="*/ 0 h 216"/>
                  <a:gd name="T4" fmla="*/ 558 w 608"/>
                  <a:gd name="T5" fmla="*/ 0 h 216"/>
                  <a:gd name="T6" fmla="*/ 568 w 608"/>
                  <a:gd name="T7" fmla="*/ 0 h 216"/>
                  <a:gd name="T8" fmla="*/ 578 w 608"/>
                  <a:gd name="T9" fmla="*/ 4 h 216"/>
                  <a:gd name="T10" fmla="*/ 586 w 608"/>
                  <a:gd name="T11" fmla="*/ 8 h 216"/>
                  <a:gd name="T12" fmla="*/ 594 w 608"/>
                  <a:gd name="T13" fmla="*/ 14 h 216"/>
                  <a:gd name="T14" fmla="*/ 600 w 608"/>
                  <a:gd name="T15" fmla="*/ 22 h 216"/>
                  <a:gd name="T16" fmla="*/ 604 w 608"/>
                  <a:gd name="T17" fmla="*/ 30 h 216"/>
                  <a:gd name="T18" fmla="*/ 608 w 608"/>
                  <a:gd name="T19" fmla="*/ 40 h 216"/>
                  <a:gd name="T20" fmla="*/ 608 w 608"/>
                  <a:gd name="T21" fmla="*/ 50 h 216"/>
                  <a:gd name="T22" fmla="*/ 608 w 608"/>
                  <a:gd name="T23" fmla="*/ 166 h 216"/>
                  <a:gd name="T24" fmla="*/ 608 w 608"/>
                  <a:gd name="T25" fmla="*/ 166 h 216"/>
                  <a:gd name="T26" fmla="*/ 608 w 608"/>
                  <a:gd name="T27" fmla="*/ 176 h 216"/>
                  <a:gd name="T28" fmla="*/ 604 w 608"/>
                  <a:gd name="T29" fmla="*/ 184 h 216"/>
                  <a:gd name="T30" fmla="*/ 600 w 608"/>
                  <a:gd name="T31" fmla="*/ 194 h 216"/>
                  <a:gd name="T32" fmla="*/ 594 w 608"/>
                  <a:gd name="T33" fmla="*/ 202 h 216"/>
                  <a:gd name="T34" fmla="*/ 586 w 608"/>
                  <a:gd name="T35" fmla="*/ 208 h 216"/>
                  <a:gd name="T36" fmla="*/ 578 w 608"/>
                  <a:gd name="T37" fmla="*/ 212 h 216"/>
                  <a:gd name="T38" fmla="*/ 568 w 608"/>
                  <a:gd name="T39" fmla="*/ 214 h 216"/>
                  <a:gd name="T40" fmla="*/ 558 w 608"/>
                  <a:gd name="T41" fmla="*/ 216 h 216"/>
                  <a:gd name="T42" fmla="*/ 52 w 608"/>
                  <a:gd name="T43" fmla="*/ 216 h 216"/>
                  <a:gd name="T44" fmla="*/ 52 w 608"/>
                  <a:gd name="T45" fmla="*/ 216 h 216"/>
                  <a:gd name="T46" fmla="*/ 42 w 608"/>
                  <a:gd name="T47" fmla="*/ 214 h 216"/>
                  <a:gd name="T48" fmla="*/ 32 w 608"/>
                  <a:gd name="T49" fmla="*/ 212 h 216"/>
                  <a:gd name="T50" fmla="*/ 24 w 608"/>
                  <a:gd name="T51" fmla="*/ 208 h 216"/>
                  <a:gd name="T52" fmla="*/ 16 w 608"/>
                  <a:gd name="T53" fmla="*/ 202 h 216"/>
                  <a:gd name="T54" fmla="*/ 10 w 608"/>
                  <a:gd name="T55" fmla="*/ 194 h 216"/>
                  <a:gd name="T56" fmla="*/ 4 w 608"/>
                  <a:gd name="T57" fmla="*/ 184 h 216"/>
                  <a:gd name="T58" fmla="*/ 2 w 608"/>
                  <a:gd name="T59" fmla="*/ 176 h 216"/>
                  <a:gd name="T60" fmla="*/ 0 w 608"/>
                  <a:gd name="T61" fmla="*/ 166 h 216"/>
                  <a:gd name="T62" fmla="*/ 0 w 608"/>
                  <a:gd name="T63" fmla="*/ 50 h 216"/>
                  <a:gd name="T64" fmla="*/ 0 w 608"/>
                  <a:gd name="T65" fmla="*/ 50 h 216"/>
                  <a:gd name="T66" fmla="*/ 2 w 608"/>
                  <a:gd name="T67" fmla="*/ 40 h 216"/>
                  <a:gd name="T68" fmla="*/ 4 w 608"/>
                  <a:gd name="T69" fmla="*/ 30 h 216"/>
                  <a:gd name="T70" fmla="*/ 10 w 608"/>
                  <a:gd name="T71" fmla="*/ 22 h 216"/>
                  <a:gd name="T72" fmla="*/ 16 w 608"/>
                  <a:gd name="T73" fmla="*/ 14 h 216"/>
                  <a:gd name="T74" fmla="*/ 24 w 608"/>
                  <a:gd name="T75" fmla="*/ 8 h 216"/>
                  <a:gd name="T76" fmla="*/ 32 w 608"/>
                  <a:gd name="T77" fmla="*/ 4 h 216"/>
                  <a:gd name="T78" fmla="*/ 42 w 608"/>
                  <a:gd name="T79" fmla="*/ 0 h 216"/>
                  <a:gd name="T80" fmla="*/ 52 w 608"/>
                  <a:gd name="T81" fmla="*/ 0 h 216"/>
                  <a:gd name="T82" fmla="*/ 52 w 608"/>
                  <a:gd name="T83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2" y="0"/>
                    </a:moveTo>
                    <a:lnTo>
                      <a:pt x="558" y="0"/>
                    </a:lnTo>
                    <a:lnTo>
                      <a:pt x="558" y="0"/>
                    </a:lnTo>
                    <a:lnTo>
                      <a:pt x="568" y="0"/>
                    </a:lnTo>
                    <a:lnTo>
                      <a:pt x="578" y="4"/>
                    </a:lnTo>
                    <a:lnTo>
                      <a:pt x="586" y="8"/>
                    </a:lnTo>
                    <a:lnTo>
                      <a:pt x="594" y="14"/>
                    </a:lnTo>
                    <a:lnTo>
                      <a:pt x="600" y="22"/>
                    </a:lnTo>
                    <a:lnTo>
                      <a:pt x="604" y="30"/>
                    </a:lnTo>
                    <a:lnTo>
                      <a:pt x="608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8" y="176"/>
                    </a:lnTo>
                    <a:lnTo>
                      <a:pt x="604" y="184"/>
                    </a:lnTo>
                    <a:lnTo>
                      <a:pt x="600" y="194"/>
                    </a:lnTo>
                    <a:lnTo>
                      <a:pt x="594" y="202"/>
                    </a:lnTo>
                    <a:lnTo>
                      <a:pt x="586" y="208"/>
                    </a:lnTo>
                    <a:lnTo>
                      <a:pt x="578" y="212"/>
                    </a:lnTo>
                    <a:lnTo>
                      <a:pt x="568" y="214"/>
                    </a:lnTo>
                    <a:lnTo>
                      <a:pt x="558" y="216"/>
                    </a:lnTo>
                    <a:lnTo>
                      <a:pt x="52" y="216"/>
                    </a:lnTo>
                    <a:lnTo>
                      <a:pt x="52" y="216"/>
                    </a:lnTo>
                    <a:lnTo>
                      <a:pt x="42" y="214"/>
                    </a:lnTo>
                    <a:lnTo>
                      <a:pt x="32" y="212"/>
                    </a:lnTo>
                    <a:lnTo>
                      <a:pt x="24" y="208"/>
                    </a:lnTo>
                    <a:lnTo>
                      <a:pt x="16" y="202"/>
                    </a:lnTo>
                    <a:lnTo>
                      <a:pt x="10" y="194"/>
                    </a:lnTo>
                    <a:lnTo>
                      <a:pt x="4" y="184"/>
                    </a:lnTo>
                    <a:lnTo>
                      <a:pt x="2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40"/>
                    </a:lnTo>
                    <a:lnTo>
                      <a:pt x="4" y="30"/>
                    </a:lnTo>
                    <a:lnTo>
                      <a:pt x="10" y="22"/>
                    </a:lnTo>
                    <a:lnTo>
                      <a:pt x="16" y="14"/>
                    </a:lnTo>
                    <a:lnTo>
                      <a:pt x="24" y="8"/>
                    </a:lnTo>
                    <a:lnTo>
                      <a:pt x="32" y="4"/>
                    </a:lnTo>
                    <a:lnTo>
                      <a:pt x="42" y="0"/>
                    </a:lnTo>
                    <a:lnTo>
                      <a:pt x="52" y="0"/>
                    </a:lnTo>
                    <a:lnTo>
                      <a:pt x="52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43" name="Line 64">
                <a:extLst>
                  <a:ext uri="{FF2B5EF4-FFF2-40B4-BE49-F238E27FC236}">
                    <a16:creationId xmlns:a16="http://schemas.microsoft.com/office/drawing/2014/main" id="{5CDD27EB-F2B9-42CE-B848-65D20E0C48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V="1">
                <a:off x="5687858" y="-1089898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44" name="Line 65">
                <a:extLst>
                  <a:ext uri="{FF2B5EF4-FFF2-40B4-BE49-F238E27FC236}">
                    <a16:creationId xmlns:a16="http://schemas.microsoft.com/office/drawing/2014/main" id="{F39276C1-C915-4688-B4A9-41CA7D183B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 flipV="1">
                <a:off x="5709832" y="-1144292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641BF1ED-3063-463F-893A-680140BE776E}"/>
                </a:ext>
              </a:extLst>
            </p:cNvPr>
            <p:cNvGrpSpPr/>
            <p:nvPr/>
          </p:nvGrpSpPr>
          <p:grpSpPr>
            <a:xfrm>
              <a:off x="5812925" y="3136106"/>
              <a:ext cx="548312" cy="265533"/>
              <a:chOff x="5165786" y="-1303968"/>
              <a:chExt cx="1431619" cy="693296"/>
            </a:xfrm>
          </p:grpSpPr>
          <p:sp>
            <p:nvSpPr>
              <p:cNvPr id="146" name="Freeform 55">
                <a:extLst>
                  <a:ext uri="{FF2B5EF4-FFF2-40B4-BE49-F238E27FC236}">
                    <a16:creationId xmlns:a16="http://schemas.microsoft.com/office/drawing/2014/main" id="{58C0D325-6D28-4652-8CEE-0E367C984429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664593" y="-830401"/>
                <a:ext cx="213106" cy="41284"/>
              </a:xfrm>
              <a:custGeom>
                <a:avLst/>
                <a:gdLst>
                  <a:gd name="T0" fmla="*/ 234 w 234"/>
                  <a:gd name="T1" fmla="*/ 0 h 48"/>
                  <a:gd name="T2" fmla="*/ 234 w 234"/>
                  <a:gd name="T3" fmla="*/ 0 h 48"/>
                  <a:gd name="T4" fmla="*/ 222 w 234"/>
                  <a:gd name="T5" fmla="*/ 12 h 48"/>
                  <a:gd name="T6" fmla="*/ 208 w 234"/>
                  <a:gd name="T7" fmla="*/ 22 h 48"/>
                  <a:gd name="T8" fmla="*/ 194 w 234"/>
                  <a:gd name="T9" fmla="*/ 30 h 48"/>
                  <a:gd name="T10" fmla="*/ 180 w 234"/>
                  <a:gd name="T11" fmla="*/ 36 h 48"/>
                  <a:gd name="T12" fmla="*/ 164 w 234"/>
                  <a:gd name="T13" fmla="*/ 42 h 48"/>
                  <a:gd name="T14" fmla="*/ 150 w 234"/>
                  <a:gd name="T15" fmla="*/ 46 h 48"/>
                  <a:gd name="T16" fmla="*/ 134 w 234"/>
                  <a:gd name="T17" fmla="*/ 48 h 48"/>
                  <a:gd name="T18" fmla="*/ 118 w 234"/>
                  <a:gd name="T19" fmla="*/ 48 h 48"/>
                  <a:gd name="T20" fmla="*/ 102 w 234"/>
                  <a:gd name="T21" fmla="*/ 48 h 48"/>
                  <a:gd name="T22" fmla="*/ 86 w 234"/>
                  <a:gd name="T23" fmla="*/ 46 h 48"/>
                  <a:gd name="T24" fmla="*/ 70 w 234"/>
                  <a:gd name="T25" fmla="*/ 42 h 48"/>
                  <a:gd name="T26" fmla="*/ 56 w 234"/>
                  <a:gd name="T27" fmla="*/ 36 h 48"/>
                  <a:gd name="T28" fmla="*/ 40 w 234"/>
                  <a:gd name="T29" fmla="*/ 30 h 48"/>
                  <a:gd name="T30" fmla="*/ 26 w 234"/>
                  <a:gd name="T31" fmla="*/ 20 h 48"/>
                  <a:gd name="T32" fmla="*/ 14 w 234"/>
                  <a:gd name="T33" fmla="*/ 10 h 48"/>
                  <a:gd name="T34" fmla="*/ 0 w 234"/>
                  <a:gd name="T3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4" h="48">
                    <a:moveTo>
                      <a:pt x="234" y="0"/>
                    </a:moveTo>
                    <a:lnTo>
                      <a:pt x="234" y="0"/>
                    </a:lnTo>
                    <a:lnTo>
                      <a:pt x="222" y="12"/>
                    </a:lnTo>
                    <a:lnTo>
                      <a:pt x="208" y="22"/>
                    </a:lnTo>
                    <a:lnTo>
                      <a:pt x="194" y="30"/>
                    </a:lnTo>
                    <a:lnTo>
                      <a:pt x="180" y="36"/>
                    </a:lnTo>
                    <a:lnTo>
                      <a:pt x="164" y="42"/>
                    </a:lnTo>
                    <a:lnTo>
                      <a:pt x="150" y="46"/>
                    </a:lnTo>
                    <a:lnTo>
                      <a:pt x="134" y="48"/>
                    </a:lnTo>
                    <a:lnTo>
                      <a:pt x="118" y="48"/>
                    </a:lnTo>
                    <a:lnTo>
                      <a:pt x="102" y="48"/>
                    </a:lnTo>
                    <a:lnTo>
                      <a:pt x="86" y="46"/>
                    </a:lnTo>
                    <a:lnTo>
                      <a:pt x="70" y="42"/>
                    </a:lnTo>
                    <a:lnTo>
                      <a:pt x="56" y="36"/>
                    </a:lnTo>
                    <a:lnTo>
                      <a:pt x="40" y="30"/>
                    </a:lnTo>
                    <a:lnTo>
                      <a:pt x="26" y="20"/>
                    </a:lnTo>
                    <a:lnTo>
                      <a:pt x="14" y="1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47" name="Freeform 56">
                <a:extLst>
                  <a:ext uri="{FF2B5EF4-FFF2-40B4-BE49-F238E27FC236}">
                    <a16:creationId xmlns:a16="http://schemas.microsoft.com/office/drawing/2014/main" id="{92E2B8A8-01C1-4592-80DA-2AABFFF91799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563940" y="-770551"/>
                <a:ext cx="355176" cy="70528"/>
              </a:xfrm>
              <a:custGeom>
                <a:avLst/>
                <a:gdLst>
                  <a:gd name="T0" fmla="*/ 390 w 390"/>
                  <a:gd name="T1" fmla="*/ 4 h 82"/>
                  <a:gd name="T2" fmla="*/ 390 w 390"/>
                  <a:gd name="T3" fmla="*/ 4 h 82"/>
                  <a:gd name="T4" fmla="*/ 370 w 390"/>
                  <a:gd name="T5" fmla="*/ 22 h 82"/>
                  <a:gd name="T6" fmla="*/ 348 w 390"/>
                  <a:gd name="T7" fmla="*/ 38 h 82"/>
                  <a:gd name="T8" fmla="*/ 324 w 390"/>
                  <a:gd name="T9" fmla="*/ 52 h 82"/>
                  <a:gd name="T10" fmla="*/ 300 w 390"/>
                  <a:gd name="T11" fmla="*/ 64 h 82"/>
                  <a:gd name="T12" fmla="*/ 274 w 390"/>
                  <a:gd name="T13" fmla="*/ 72 h 82"/>
                  <a:gd name="T14" fmla="*/ 248 w 390"/>
                  <a:gd name="T15" fmla="*/ 78 h 82"/>
                  <a:gd name="T16" fmla="*/ 222 w 390"/>
                  <a:gd name="T17" fmla="*/ 82 h 82"/>
                  <a:gd name="T18" fmla="*/ 196 w 390"/>
                  <a:gd name="T19" fmla="*/ 82 h 82"/>
                  <a:gd name="T20" fmla="*/ 168 w 390"/>
                  <a:gd name="T21" fmla="*/ 82 h 82"/>
                  <a:gd name="T22" fmla="*/ 142 w 390"/>
                  <a:gd name="T23" fmla="*/ 78 h 82"/>
                  <a:gd name="T24" fmla="*/ 116 w 390"/>
                  <a:gd name="T25" fmla="*/ 70 h 82"/>
                  <a:gd name="T26" fmla="*/ 92 w 390"/>
                  <a:gd name="T27" fmla="*/ 62 h 82"/>
                  <a:gd name="T28" fmla="*/ 68 w 390"/>
                  <a:gd name="T29" fmla="*/ 50 h 82"/>
                  <a:gd name="T30" fmla="*/ 44 w 390"/>
                  <a:gd name="T31" fmla="*/ 36 h 82"/>
                  <a:gd name="T32" fmla="*/ 22 w 390"/>
                  <a:gd name="T33" fmla="*/ 20 h 82"/>
                  <a:gd name="T34" fmla="*/ 0 w 390"/>
                  <a:gd name="T35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0" h="82">
                    <a:moveTo>
                      <a:pt x="390" y="4"/>
                    </a:moveTo>
                    <a:lnTo>
                      <a:pt x="390" y="4"/>
                    </a:lnTo>
                    <a:lnTo>
                      <a:pt x="370" y="22"/>
                    </a:lnTo>
                    <a:lnTo>
                      <a:pt x="348" y="38"/>
                    </a:lnTo>
                    <a:lnTo>
                      <a:pt x="324" y="52"/>
                    </a:lnTo>
                    <a:lnTo>
                      <a:pt x="300" y="64"/>
                    </a:lnTo>
                    <a:lnTo>
                      <a:pt x="274" y="72"/>
                    </a:lnTo>
                    <a:lnTo>
                      <a:pt x="248" y="78"/>
                    </a:lnTo>
                    <a:lnTo>
                      <a:pt x="222" y="82"/>
                    </a:lnTo>
                    <a:lnTo>
                      <a:pt x="196" y="82"/>
                    </a:lnTo>
                    <a:lnTo>
                      <a:pt x="168" y="82"/>
                    </a:lnTo>
                    <a:lnTo>
                      <a:pt x="142" y="78"/>
                    </a:lnTo>
                    <a:lnTo>
                      <a:pt x="116" y="70"/>
                    </a:lnTo>
                    <a:lnTo>
                      <a:pt x="92" y="62"/>
                    </a:lnTo>
                    <a:lnTo>
                      <a:pt x="68" y="50"/>
                    </a:lnTo>
                    <a:lnTo>
                      <a:pt x="44" y="36"/>
                    </a:lnTo>
                    <a:lnTo>
                      <a:pt x="22" y="2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48" name="Freeform 57">
                <a:extLst>
                  <a:ext uri="{FF2B5EF4-FFF2-40B4-BE49-F238E27FC236}">
                    <a16:creationId xmlns:a16="http://schemas.microsoft.com/office/drawing/2014/main" id="{B4D1898F-3D19-42E7-8FDA-501EE7D84AA9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464734" y="-708723"/>
                <a:ext cx="495426" cy="98051"/>
              </a:xfrm>
              <a:custGeom>
                <a:avLst/>
                <a:gdLst>
                  <a:gd name="T0" fmla="*/ 544 w 544"/>
                  <a:gd name="T1" fmla="*/ 4 h 114"/>
                  <a:gd name="T2" fmla="*/ 544 w 544"/>
                  <a:gd name="T3" fmla="*/ 4 h 114"/>
                  <a:gd name="T4" fmla="*/ 516 w 544"/>
                  <a:gd name="T5" fmla="*/ 30 h 114"/>
                  <a:gd name="T6" fmla="*/ 484 w 544"/>
                  <a:gd name="T7" fmla="*/ 52 h 114"/>
                  <a:gd name="T8" fmla="*/ 450 w 544"/>
                  <a:gd name="T9" fmla="*/ 72 h 114"/>
                  <a:gd name="T10" fmla="*/ 416 w 544"/>
                  <a:gd name="T11" fmla="*/ 88 h 114"/>
                  <a:gd name="T12" fmla="*/ 382 w 544"/>
                  <a:gd name="T13" fmla="*/ 100 h 114"/>
                  <a:gd name="T14" fmla="*/ 344 w 544"/>
                  <a:gd name="T15" fmla="*/ 108 h 114"/>
                  <a:gd name="T16" fmla="*/ 308 w 544"/>
                  <a:gd name="T17" fmla="*/ 114 h 114"/>
                  <a:gd name="T18" fmla="*/ 272 w 544"/>
                  <a:gd name="T19" fmla="*/ 114 h 114"/>
                  <a:gd name="T20" fmla="*/ 234 w 544"/>
                  <a:gd name="T21" fmla="*/ 112 h 114"/>
                  <a:gd name="T22" fmla="*/ 198 w 544"/>
                  <a:gd name="T23" fmla="*/ 108 h 114"/>
                  <a:gd name="T24" fmla="*/ 162 w 544"/>
                  <a:gd name="T25" fmla="*/ 98 h 114"/>
                  <a:gd name="T26" fmla="*/ 126 w 544"/>
                  <a:gd name="T27" fmla="*/ 86 h 114"/>
                  <a:gd name="T28" fmla="*/ 92 w 544"/>
                  <a:gd name="T29" fmla="*/ 70 h 114"/>
                  <a:gd name="T30" fmla="*/ 60 w 544"/>
                  <a:gd name="T31" fmla="*/ 50 h 114"/>
                  <a:gd name="T32" fmla="*/ 28 w 544"/>
                  <a:gd name="T33" fmla="*/ 26 h 114"/>
                  <a:gd name="T34" fmla="*/ 0 w 544"/>
                  <a:gd name="T3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4" h="114">
                    <a:moveTo>
                      <a:pt x="544" y="4"/>
                    </a:moveTo>
                    <a:lnTo>
                      <a:pt x="544" y="4"/>
                    </a:lnTo>
                    <a:lnTo>
                      <a:pt x="516" y="30"/>
                    </a:lnTo>
                    <a:lnTo>
                      <a:pt x="484" y="52"/>
                    </a:lnTo>
                    <a:lnTo>
                      <a:pt x="450" y="72"/>
                    </a:lnTo>
                    <a:lnTo>
                      <a:pt x="416" y="88"/>
                    </a:lnTo>
                    <a:lnTo>
                      <a:pt x="382" y="100"/>
                    </a:lnTo>
                    <a:lnTo>
                      <a:pt x="344" y="108"/>
                    </a:lnTo>
                    <a:lnTo>
                      <a:pt x="308" y="114"/>
                    </a:lnTo>
                    <a:lnTo>
                      <a:pt x="272" y="114"/>
                    </a:lnTo>
                    <a:lnTo>
                      <a:pt x="234" y="112"/>
                    </a:lnTo>
                    <a:lnTo>
                      <a:pt x="198" y="108"/>
                    </a:lnTo>
                    <a:lnTo>
                      <a:pt x="162" y="98"/>
                    </a:lnTo>
                    <a:lnTo>
                      <a:pt x="126" y="86"/>
                    </a:lnTo>
                    <a:lnTo>
                      <a:pt x="92" y="70"/>
                    </a:lnTo>
                    <a:lnTo>
                      <a:pt x="60" y="50"/>
                    </a:lnTo>
                    <a:lnTo>
                      <a:pt x="28" y="26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49" name="Freeform 59">
                <a:extLst>
                  <a:ext uri="{FF2B5EF4-FFF2-40B4-BE49-F238E27FC236}">
                    <a16:creationId xmlns:a16="http://schemas.microsoft.com/office/drawing/2014/main" id="{F78A5E27-F100-48C0-898D-297F02CB9117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6043694" y="-978076"/>
                <a:ext cx="553711" cy="185780"/>
              </a:xfrm>
              <a:custGeom>
                <a:avLst/>
                <a:gdLst>
                  <a:gd name="T0" fmla="*/ 556 w 608"/>
                  <a:gd name="T1" fmla="*/ 216 h 216"/>
                  <a:gd name="T2" fmla="*/ 50 w 608"/>
                  <a:gd name="T3" fmla="*/ 216 h 216"/>
                  <a:gd name="T4" fmla="*/ 50 w 608"/>
                  <a:gd name="T5" fmla="*/ 216 h 216"/>
                  <a:gd name="T6" fmla="*/ 40 w 608"/>
                  <a:gd name="T7" fmla="*/ 214 h 216"/>
                  <a:gd name="T8" fmla="*/ 30 w 608"/>
                  <a:gd name="T9" fmla="*/ 212 h 216"/>
                  <a:gd name="T10" fmla="*/ 22 w 608"/>
                  <a:gd name="T11" fmla="*/ 208 h 216"/>
                  <a:gd name="T12" fmla="*/ 14 w 608"/>
                  <a:gd name="T13" fmla="*/ 202 h 216"/>
                  <a:gd name="T14" fmla="*/ 8 w 608"/>
                  <a:gd name="T15" fmla="*/ 194 h 216"/>
                  <a:gd name="T16" fmla="*/ 4 w 608"/>
                  <a:gd name="T17" fmla="*/ 184 h 216"/>
                  <a:gd name="T18" fmla="*/ 0 w 608"/>
                  <a:gd name="T19" fmla="*/ 176 h 216"/>
                  <a:gd name="T20" fmla="*/ 0 w 608"/>
                  <a:gd name="T21" fmla="*/ 166 h 216"/>
                  <a:gd name="T22" fmla="*/ 0 w 608"/>
                  <a:gd name="T23" fmla="*/ 50 h 216"/>
                  <a:gd name="T24" fmla="*/ 0 w 608"/>
                  <a:gd name="T25" fmla="*/ 50 h 216"/>
                  <a:gd name="T26" fmla="*/ 0 w 608"/>
                  <a:gd name="T27" fmla="*/ 40 h 216"/>
                  <a:gd name="T28" fmla="*/ 4 w 608"/>
                  <a:gd name="T29" fmla="*/ 30 h 216"/>
                  <a:gd name="T30" fmla="*/ 8 w 608"/>
                  <a:gd name="T31" fmla="*/ 22 h 216"/>
                  <a:gd name="T32" fmla="*/ 14 w 608"/>
                  <a:gd name="T33" fmla="*/ 14 h 216"/>
                  <a:gd name="T34" fmla="*/ 22 w 608"/>
                  <a:gd name="T35" fmla="*/ 8 h 216"/>
                  <a:gd name="T36" fmla="*/ 30 w 608"/>
                  <a:gd name="T37" fmla="*/ 4 h 216"/>
                  <a:gd name="T38" fmla="*/ 40 w 608"/>
                  <a:gd name="T39" fmla="*/ 0 h 216"/>
                  <a:gd name="T40" fmla="*/ 50 w 608"/>
                  <a:gd name="T41" fmla="*/ 0 h 216"/>
                  <a:gd name="T42" fmla="*/ 556 w 608"/>
                  <a:gd name="T43" fmla="*/ 0 h 216"/>
                  <a:gd name="T44" fmla="*/ 556 w 608"/>
                  <a:gd name="T45" fmla="*/ 0 h 216"/>
                  <a:gd name="T46" fmla="*/ 568 w 608"/>
                  <a:gd name="T47" fmla="*/ 0 h 216"/>
                  <a:gd name="T48" fmla="*/ 576 w 608"/>
                  <a:gd name="T49" fmla="*/ 4 h 216"/>
                  <a:gd name="T50" fmla="*/ 586 w 608"/>
                  <a:gd name="T51" fmla="*/ 8 h 216"/>
                  <a:gd name="T52" fmla="*/ 592 w 608"/>
                  <a:gd name="T53" fmla="*/ 14 h 216"/>
                  <a:gd name="T54" fmla="*/ 598 w 608"/>
                  <a:gd name="T55" fmla="*/ 22 h 216"/>
                  <a:gd name="T56" fmla="*/ 604 w 608"/>
                  <a:gd name="T57" fmla="*/ 30 h 216"/>
                  <a:gd name="T58" fmla="*/ 606 w 608"/>
                  <a:gd name="T59" fmla="*/ 40 h 216"/>
                  <a:gd name="T60" fmla="*/ 608 w 608"/>
                  <a:gd name="T61" fmla="*/ 50 h 216"/>
                  <a:gd name="T62" fmla="*/ 608 w 608"/>
                  <a:gd name="T63" fmla="*/ 166 h 216"/>
                  <a:gd name="T64" fmla="*/ 608 w 608"/>
                  <a:gd name="T65" fmla="*/ 166 h 216"/>
                  <a:gd name="T66" fmla="*/ 606 w 608"/>
                  <a:gd name="T67" fmla="*/ 176 h 216"/>
                  <a:gd name="T68" fmla="*/ 604 w 608"/>
                  <a:gd name="T69" fmla="*/ 184 h 216"/>
                  <a:gd name="T70" fmla="*/ 598 w 608"/>
                  <a:gd name="T71" fmla="*/ 194 h 216"/>
                  <a:gd name="T72" fmla="*/ 592 w 608"/>
                  <a:gd name="T73" fmla="*/ 202 h 216"/>
                  <a:gd name="T74" fmla="*/ 586 w 608"/>
                  <a:gd name="T75" fmla="*/ 208 h 216"/>
                  <a:gd name="T76" fmla="*/ 576 w 608"/>
                  <a:gd name="T77" fmla="*/ 212 h 216"/>
                  <a:gd name="T78" fmla="*/ 568 w 608"/>
                  <a:gd name="T79" fmla="*/ 214 h 216"/>
                  <a:gd name="T80" fmla="*/ 556 w 608"/>
                  <a:gd name="T81" fmla="*/ 216 h 216"/>
                  <a:gd name="T82" fmla="*/ 556 w 608"/>
                  <a:gd name="T8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56" y="216"/>
                    </a:moveTo>
                    <a:lnTo>
                      <a:pt x="50" y="216"/>
                    </a:lnTo>
                    <a:lnTo>
                      <a:pt x="50" y="216"/>
                    </a:lnTo>
                    <a:lnTo>
                      <a:pt x="40" y="214"/>
                    </a:lnTo>
                    <a:lnTo>
                      <a:pt x="30" y="212"/>
                    </a:lnTo>
                    <a:lnTo>
                      <a:pt x="22" y="208"/>
                    </a:lnTo>
                    <a:lnTo>
                      <a:pt x="14" y="202"/>
                    </a:lnTo>
                    <a:lnTo>
                      <a:pt x="8" y="194"/>
                    </a:lnTo>
                    <a:lnTo>
                      <a:pt x="4" y="184"/>
                    </a:lnTo>
                    <a:lnTo>
                      <a:pt x="0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0"/>
                    </a:lnTo>
                    <a:lnTo>
                      <a:pt x="4" y="30"/>
                    </a:lnTo>
                    <a:lnTo>
                      <a:pt x="8" y="22"/>
                    </a:lnTo>
                    <a:lnTo>
                      <a:pt x="14" y="14"/>
                    </a:lnTo>
                    <a:lnTo>
                      <a:pt x="22" y="8"/>
                    </a:lnTo>
                    <a:lnTo>
                      <a:pt x="30" y="4"/>
                    </a:lnTo>
                    <a:lnTo>
                      <a:pt x="40" y="0"/>
                    </a:lnTo>
                    <a:lnTo>
                      <a:pt x="50" y="0"/>
                    </a:lnTo>
                    <a:lnTo>
                      <a:pt x="556" y="0"/>
                    </a:lnTo>
                    <a:lnTo>
                      <a:pt x="556" y="0"/>
                    </a:lnTo>
                    <a:lnTo>
                      <a:pt x="568" y="0"/>
                    </a:lnTo>
                    <a:lnTo>
                      <a:pt x="576" y="4"/>
                    </a:lnTo>
                    <a:lnTo>
                      <a:pt x="586" y="8"/>
                    </a:lnTo>
                    <a:lnTo>
                      <a:pt x="592" y="14"/>
                    </a:lnTo>
                    <a:lnTo>
                      <a:pt x="598" y="22"/>
                    </a:lnTo>
                    <a:lnTo>
                      <a:pt x="604" y="30"/>
                    </a:lnTo>
                    <a:lnTo>
                      <a:pt x="606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6" y="176"/>
                    </a:lnTo>
                    <a:lnTo>
                      <a:pt x="604" y="184"/>
                    </a:lnTo>
                    <a:lnTo>
                      <a:pt x="598" y="194"/>
                    </a:lnTo>
                    <a:lnTo>
                      <a:pt x="592" y="202"/>
                    </a:lnTo>
                    <a:lnTo>
                      <a:pt x="586" y="208"/>
                    </a:lnTo>
                    <a:lnTo>
                      <a:pt x="576" y="212"/>
                    </a:lnTo>
                    <a:lnTo>
                      <a:pt x="568" y="214"/>
                    </a:lnTo>
                    <a:lnTo>
                      <a:pt x="556" y="216"/>
                    </a:lnTo>
                    <a:lnTo>
                      <a:pt x="556" y="216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0" name="Line 60">
                <a:extLst>
                  <a:ext uri="{FF2B5EF4-FFF2-40B4-BE49-F238E27FC236}">
                    <a16:creationId xmlns:a16="http://schemas.microsoft.com/office/drawing/2014/main" id="{2A1ACD5A-CA7E-41EF-9133-A86CAD3A9E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>
                <a:off x="5969692" y="-1045932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1" name="Line 61">
                <a:extLst>
                  <a:ext uri="{FF2B5EF4-FFF2-40B4-BE49-F238E27FC236}">
                    <a16:creationId xmlns:a16="http://schemas.microsoft.com/office/drawing/2014/main" id="{203F2440-2F5F-4DCD-BB1E-1D38822CD3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>
                <a:off x="5947718" y="-989818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2" name="Freeform 62">
                <a:extLst>
                  <a:ext uri="{FF2B5EF4-FFF2-40B4-BE49-F238E27FC236}">
                    <a16:creationId xmlns:a16="http://schemas.microsoft.com/office/drawing/2014/main" id="{A84DF04A-8C25-4EAA-877C-0CEB952FE3EC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802306" y="-1123505"/>
                <a:ext cx="160285" cy="151376"/>
              </a:xfrm>
              <a:custGeom>
                <a:avLst/>
                <a:gdLst>
                  <a:gd name="T0" fmla="*/ 0 w 176"/>
                  <a:gd name="T1" fmla="*/ 88 h 176"/>
                  <a:gd name="T2" fmla="*/ 0 w 176"/>
                  <a:gd name="T3" fmla="*/ 88 h 176"/>
                  <a:gd name="T4" fmla="*/ 0 w 176"/>
                  <a:gd name="T5" fmla="*/ 70 h 176"/>
                  <a:gd name="T6" fmla="*/ 6 w 176"/>
                  <a:gd name="T7" fmla="*/ 54 h 176"/>
                  <a:gd name="T8" fmla="*/ 14 w 176"/>
                  <a:gd name="T9" fmla="*/ 38 h 176"/>
                  <a:gd name="T10" fmla="*/ 24 w 176"/>
                  <a:gd name="T11" fmla="*/ 26 h 176"/>
                  <a:gd name="T12" fmla="*/ 38 w 176"/>
                  <a:gd name="T13" fmla="*/ 14 h 176"/>
                  <a:gd name="T14" fmla="*/ 52 w 176"/>
                  <a:gd name="T15" fmla="*/ 6 h 176"/>
                  <a:gd name="T16" fmla="*/ 70 w 176"/>
                  <a:gd name="T17" fmla="*/ 2 h 176"/>
                  <a:gd name="T18" fmla="*/ 88 w 176"/>
                  <a:gd name="T19" fmla="*/ 0 h 176"/>
                  <a:gd name="T20" fmla="*/ 88 w 176"/>
                  <a:gd name="T21" fmla="*/ 0 h 176"/>
                  <a:gd name="T22" fmla="*/ 104 w 176"/>
                  <a:gd name="T23" fmla="*/ 2 h 176"/>
                  <a:gd name="T24" fmla="*/ 122 w 176"/>
                  <a:gd name="T25" fmla="*/ 6 h 176"/>
                  <a:gd name="T26" fmla="*/ 136 w 176"/>
                  <a:gd name="T27" fmla="*/ 14 h 176"/>
                  <a:gd name="T28" fmla="*/ 150 w 176"/>
                  <a:gd name="T29" fmla="*/ 26 h 176"/>
                  <a:gd name="T30" fmla="*/ 160 w 176"/>
                  <a:gd name="T31" fmla="*/ 38 h 176"/>
                  <a:gd name="T32" fmla="*/ 168 w 176"/>
                  <a:gd name="T33" fmla="*/ 54 h 176"/>
                  <a:gd name="T34" fmla="*/ 174 w 176"/>
                  <a:gd name="T35" fmla="*/ 70 h 176"/>
                  <a:gd name="T36" fmla="*/ 176 w 176"/>
                  <a:gd name="T37" fmla="*/ 88 h 176"/>
                  <a:gd name="T38" fmla="*/ 176 w 176"/>
                  <a:gd name="T39" fmla="*/ 88 h 176"/>
                  <a:gd name="T40" fmla="*/ 174 w 176"/>
                  <a:gd name="T41" fmla="*/ 106 h 176"/>
                  <a:gd name="T42" fmla="*/ 168 w 176"/>
                  <a:gd name="T43" fmla="*/ 122 h 176"/>
                  <a:gd name="T44" fmla="*/ 160 w 176"/>
                  <a:gd name="T45" fmla="*/ 138 h 176"/>
                  <a:gd name="T46" fmla="*/ 150 w 176"/>
                  <a:gd name="T47" fmla="*/ 150 h 176"/>
                  <a:gd name="T48" fmla="*/ 136 w 176"/>
                  <a:gd name="T49" fmla="*/ 160 h 176"/>
                  <a:gd name="T50" fmla="*/ 122 w 176"/>
                  <a:gd name="T51" fmla="*/ 170 h 176"/>
                  <a:gd name="T52" fmla="*/ 104 w 176"/>
                  <a:gd name="T53" fmla="*/ 174 h 176"/>
                  <a:gd name="T54" fmla="*/ 88 w 176"/>
                  <a:gd name="T55" fmla="*/ 176 h 176"/>
                  <a:gd name="T56" fmla="*/ 88 w 176"/>
                  <a:gd name="T57" fmla="*/ 176 h 176"/>
                  <a:gd name="T58" fmla="*/ 70 w 176"/>
                  <a:gd name="T59" fmla="*/ 174 h 176"/>
                  <a:gd name="T60" fmla="*/ 52 w 176"/>
                  <a:gd name="T61" fmla="*/ 170 h 176"/>
                  <a:gd name="T62" fmla="*/ 38 w 176"/>
                  <a:gd name="T63" fmla="*/ 160 h 176"/>
                  <a:gd name="T64" fmla="*/ 24 w 176"/>
                  <a:gd name="T65" fmla="*/ 150 h 176"/>
                  <a:gd name="T66" fmla="*/ 14 w 176"/>
                  <a:gd name="T67" fmla="*/ 138 h 176"/>
                  <a:gd name="T68" fmla="*/ 6 w 176"/>
                  <a:gd name="T69" fmla="*/ 122 h 176"/>
                  <a:gd name="T70" fmla="*/ 0 w 176"/>
                  <a:gd name="T71" fmla="*/ 106 h 176"/>
                  <a:gd name="T72" fmla="*/ 0 w 176"/>
                  <a:gd name="T73" fmla="*/ 88 h 176"/>
                  <a:gd name="T74" fmla="*/ 0 w 176"/>
                  <a:gd name="T75" fmla="*/ 8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6" h="176">
                    <a:moveTo>
                      <a:pt x="0" y="88"/>
                    </a:moveTo>
                    <a:lnTo>
                      <a:pt x="0" y="88"/>
                    </a:lnTo>
                    <a:lnTo>
                      <a:pt x="0" y="70"/>
                    </a:lnTo>
                    <a:lnTo>
                      <a:pt x="6" y="54"/>
                    </a:lnTo>
                    <a:lnTo>
                      <a:pt x="14" y="38"/>
                    </a:lnTo>
                    <a:lnTo>
                      <a:pt x="24" y="26"/>
                    </a:lnTo>
                    <a:lnTo>
                      <a:pt x="38" y="14"/>
                    </a:lnTo>
                    <a:lnTo>
                      <a:pt x="52" y="6"/>
                    </a:lnTo>
                    <a:lnTo>
                      <a:pt x="70" y="2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104" y="2"/>
                    </a:lnTo>
                    <a:lnTo>
                      <a:pt x="122" y="6"/>
                    </a:lnTo>
                    <a:lnTo>
                      <a:pt x="136" y="14"/>
                    </a:lnTo>
                    <a:lnTo>
                      <a:pt x="150" y="26"/>
                    </a:lnTo>
                    <a:lnTo>
                      <a:pt x="160" y="38"/>
                    </a:lnTo>
                    <a:lnTo>
                      <a:pt x="168" y="54"/>
                    </a:lnTo>
                    <a:lnTo>
                      <a:pt x="174" y="70"/>
                    </a:lnTo>
                    <a:lnTo>
                      <a:pt x="176" y="88"/>
                    </a:lnTo>
                    <a:lnTo>
                      <a:pt x="176" y="88"/>
                    </a:lnTo>
                    <a:lnTo>
                      <a:pt x="174" y="106"/>
                    </a:lnTo>
                    <a:lnTo>
                      <a:pt x="168" y="122"/>
                    </a:lnTo>
                    <a:lnTo>
                      <a:pt x="160" y="138"/>
                    </a:lnTo>
                    <a:lnTo>
                      <a:pt x="150" y="150"/>
                    </a:lnTo>
                    <a:lnTo>
                      <a:pt x="136" y="160"/>
                    </a:lnTo>
                    <a:lnTo>
                      <a:pt x="122" y="170"/>
                    </a:lnTo>
                    <a:lnTo>
                      <a:pt x="104" y="174"/>
                    </a:lnTo>
                    <a:lnTo>
                      <a:pt x="88" y="176"/>
                    </a:lnTo>
                    <a:lnTo>
                      <a:pt x="88" y="176"/>
                    </a:lnTo>
                    <a:lnTo>
                      <a:pt x="70" y="174"/>
                    </a:lnTo>
                    <a:lnTo>
                      <a:pt x="52" y="170"/>
                    </a:lnTo>
                    <a:lnTo>
                      <a:pt x="38" y="160"/>
                    </a:lnTo>
                    <a:lnTo>
                      <a:pt x="24" y="150"/>
                    </a:lnTo>
                    <a:lnTo>
                      <a:pt x="14" y="138"/>
                    </a:lnTo>
                    <a:lnTo>
                      <a:pt x="6" y="122"/>
                    </a:lnTo>
                    <a:lnTo>
                      <a:pt x="0" y="106"/>
                    </a:lnTo>
                    <a:lnTo>
                      <a:pt x="0" y="88"/>
                    </a:lnTo>
                    <a:lnTo>
                      <a:pt x="0" y="88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3" name="Freeform 63">
                <a:extLst>
                  <a:ext uri="{FF2B5EF4-FFF2-40B4-BE49-F238E27FC236}">
                    <a16:creationId xmlns:a16="http://schemas.microsoft.com/office/drawing/2014/main" id="{17C1EABE-F180-47A8-B182-F4A5C6802D03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165786" y="-1303968"/>
                <a:ext cx="553711" cy="185780"/>
              </a:xfrm>
              <a:custGeom>
                <a:avLst/>
                <a:gdLst>
                  <a:gd name="T0" fmla="*/ 52 w 608"/>
                  <a:gd name="T1" fmla="*/ 0 h 216"/>
                  <a:gd name="T2" fmla="*/ 558 w 608"/>
                  <a:gd name="T3" fmla="*/ 0 h 216"/>
                  <a:gd name="T4" fmla="*/ 558 w 608"/>
                  <a:gd name="T5" fmla="*/ 0 h 216"/>
                  <a:gd name="T6" fmla="*/ 568 w 608"/>
                  <a:gd name="T7" fmla="*/ 0 h 216"/>
                  <a:gd name="T8" fmla="*/ 578 w 608"/>
                  <a:gd name="T9" fmla="*/ 4 h 216"/>
                  <a:gd name="T10" fmla="*/ 586 w 608"/>
                  <a:gd name="T11" fmla="*/ 8 h 216"/>
                  <a:gd name="T12" fmla="*/ 594 w 608"/>
                  <a:gd name="T13" fmla="*/ 14 h 216"/>
                  <a:gd name="T14" fmla="*/ 600 w 608"/>
                  <a:gd name="T15" fmla="*/ 22 h 216"/>
                  <a:gd name="T16" fmla="*/ 604 w 608"/>
                  <a:gd name="T17" fmla="*/ 30 h 216"/>
                  <a:gd name="T18" fmla="*/ 608 w 608"/>
                  <a:gd name="T19" fmla="*/ 40 h 216"/>
                  <a:gd name="T20" fmla="*/ 608 w 608"/>
                  <a:gd name="T21" fmla="*/ 50 h 216"/>
                  <a:gd name="T22" fmla="*/ 608 w 608"/>
                  <a:gd name="T23" fmla="*/ 166 h 216"/>
                  <a:gd name="T24" fmla="*/ 608 w 608"/>
                  <a:gd name="T25" fmla="*/ 166 h 216"/>
                  <a:gd name="T26" fmla="*/ 608 w 608"/>
                  <a:gd name="T27" fmla="*/ 176 h 216"/>
                  <a:gd name="T28" fmla="*/ 604 w 608"/>
                  <a:gd name="T29" fmla="*/ 184 h 216"/>
                  <a:gd name="T30" fmla="*/ 600 w 608"/>
                  <a:gd name="T31" fmla="*/ 194 h 216"/>
                  <a:gd name="T32" fmla="*/ 594 w 608"/>
                  <a:gd name="T33" fmla="*/ 202 h 216"/>
                  <a:gd name="T34" fmla="*/ 586 w 608"/>
                  <a:gd name="T35" fmla="*/ 208 h 216"/>
                  <a:gd name="T36" fmla="*/ 578 w 608"/>
                  <a:gd name="T37" fmla="*/ 212 h 216"/>
                  <a:gd name="T38" fmla="*/ 568 w 608"/>
                  <a:gd name="T39" fmla="*/ 214 h 216"/>
                  <a:gd name="T40" fmla="*/ 558 w 608"/>
                  <a:gd name="T41" fmla="*/ 216 h 216"/>
                  <a:gd name="T42" fmla="*/ 52 w 608"/>
                  <a:gd name="T43" fmla="*/ 216 h 216"/>
                  <a:gd name="T44" fmla="*/ 52 w 608"/>
                  <a:gd name="T45" fmla="*/ 216 h 216"/>
                  <a:gd name="T46" fmla="*/ 42 w 608"/>
                  <a:gd name="T47" fmla="*/ 214 h 216"/>
                  <a:gd name="T48" fmla="*/ 32 w 608"/>
                  <a:gd name="T49" fmla="*/ 212 h 216"/>
                  <a:gd name="T50" fmla="*/ 24 w 608"/>
                  <a:gd name="T51" fmla="*/ 208 h 216"/>
                  <a:gd name="T52" fmla="*/ 16 w 608"/>
                  <a:gd name="T53" fmla="*/ 202 h 216"/>
                  <a:gd name="T54" fmla="*/ 10 w 608"/>
                  <a:gd name="T55" fmla="*/ 194 h 216"/>
                  <a:gd name="T56" fmla="*/ 4 w 608"/>
                  <a:gd name="T57" fmla="*/ 184 h 216"/>
                  <a:gd name="T58" fmla="*/ 2 w 608"/>
                  <a:gd name="T59" fmla="*/ 176 h 216"/>
                  <a:gd name="T60" fmla="*/ 0 w 608"/>
                  <a:gd name="T61" fmla="*/ 166 h 216"/>
                  <a:gd name="T62" fmla="*/ 0 w 608"/>
                  <a:gd name="T63" fmla="*/ 50 h 216"/>
                  <a:gd name="T64" fmla="*/ 0 w 608"/>
                  <a:gd name="T65" fmla="*/ 50 h 216"/>
                  <a:gd name="T66" fmla="*/ 2 w 608"/>
                  <a:gd name="T67" fmla="*/ 40 h 216"/>
                  <a:gd name="T68" fmla="*/ 4 w 608"/>
                  <a:gd name="T69" fmla="*/ 30 h 216"/>
                  <a:gd name="T70" fmla="*/ 10 w 608"/>
                  <a:gd name="T71" fmla="*/ 22 h 216"/>
                  <a:gd name="T72" fmla="*/ 16 w 608"/>
                  <a:gd name="T73" fmla="*/ 14 h 216"/>
                  <a:gd name="T74" fmla="*/ 24 w 608"/>
                  <a:gd name="T75" fmla="*/ 8 h 216"/>
                  <a:gd name="T76" fmla="*/ 32 w 608"/>
                  <a:gd name="T77" fmla="*/ 4 h 216"/>
                  <a:gd name="T78" fmla="*/ 42 w 608"/>
                  <a:gd name="T79" fmla="*/ 0 h 216"/>
                  <a:gd name="T80" fmla="*/ 52 w 608"/>
                  <a:gd name="T81" fmla="*/ 0 h 216"/>
                  <a:gd name="T82" fmla="*/ 52 w 608"/>
                  <a:gd name="T83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2" y="0"/>
                    </a:moveTo>
                    <a:lnTo>
                      <a:pt x="558" y="0"/>
                    </a:lnTo>
                    <a:lnTo>
                      <a:pt x="558" y="0"/>
                    </a:lnTo>
                    <a:lnTo>
                      <a:pt x="568" y="0"/>
                    </a:lnTo>
                    <a:lnTo>
                      <a:pt x="578" y="4"/>
                    </a:lnTo>
                    <a:lnTo>
                      <a:pt x="586" y="8"/>
                    </a:lnTo>
                    <a:lnTo>
                      <a:pt x="594" y="14"/>
                    </a:lnTo>
                    <a:lnTo>
                      <a:pt x="600" y="22"/>
                    </a:lnTo>
                    <a:lnTo>
                      <a:pt x="604" y="30"/>
                    </a:lnTo>
                    <a:lnTo>
                      <a:pt x="608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8" y="176"/>
                    </a:lnTo>
                    <a:lnTo>
                      <a:pt x="604" y="184"/>
                    </a:lnTo>
                    <a:lnTo>
                      <a:pt x="600" y="194"/>
                    </a:lnTo>
                    <a:lnTo>
                      <a:pt x="594" y="202"/>
                    </a:lnTo>
                    <a:lnTo>
                      <a:pt x="586" y="208"/>
                    </a:lnTo>
                    <a:lnTo>
                      <a:pt x="578" y="212"/>
                    </a:lnTo>
                    <a:lnTo>
                      <a:pt x="568" y="214"/>
                    </a:lnTo>
                    <a:lnTo>
                      <a:pt x="558" y="216"/>
                    </a:lnTo>
                    <a:lnTo>
                      <a:pt x="52" y="216"/>
                    </a:lnTo>
                    <a:lnTo>
                      <a:pt x="52" y="216"/>
                    </a:lnTo>
                    <a:lnTo>
                      <a:pt x="42" y="214"/>
                    </a:lnTo>
                    <a:lnTo>
                      <a:pt x="32" y="212"/>
                    </a:lnTo>
                    <a:lnTo>
                      <a:pt x="24" y="208"/>
                    </a:lnTo>
                    <a:lnTo>
                      <a:pt x="16" y="202"/>
                    </a:lnTo>
                    <a:lnTo>
                      <a:pt x="10" y="194"/>
                    </a:lnTo>
                    <a:lnTo>
                      <a:pt x="4" y="184"/>
                    </a:lnTo>
                    <a:lnTo>
                      <a:pt x="2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40"/>
                    </a:lnTo>
                    <a:lnTo>
                      <a:pt x="4" y="30"/>
                    </a:lnTo>
                    <a:lnTo>
                      <a:pt x="10" y="22"/>
                    </a:lnTo>
                    <a:lnTo>
                      <a:pt x="16" y="14"/>
                    </a:lnTo>
                    <a:lnTo>
                      <a:pt x="24" y="8"/>
                    </a:lnTo>
                    <a:lnTo>
                      <a:pt x="32" y="4"/>
                    </a:lnTo>
                    <a:lnTo>
                      <a:pt x="42" y="0"/>
                    </a:lnTo>
                    <a:lnTo>
                      <a:pt x="52" y="0"/>
                    </a:lnTo>
                    <a:lnTo>
                      <a:pt x="52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4" name="Line 64">
                <a:extLst>
                  <a:ext uri="{FF2B5EF4-FFF2-40B4-BE49-F238E27FC236}">
                    <a16:creationId xmlns:a16="http://schemas.microsoft.com/office/drawing/2014/main" id="{98FF5986-E25E-4549-AF28-3C13B1CBF6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V="1">
                <a:off x="5687858" y="-1089898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5" name="Line 65">
                <a:extLst>
                  <a:ext uri="{FF2B5EF4-FFF2-40B4-BE49-F238E27FC236}">
                    <a16:creationId xmlns:a16="http://schemas.microsoft.com/office/drawing/2014/main" id="{0E0FF31F-105F-4203-973A-BA451A7EAB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 flipV="1">
                <a:off x="5709832" y="-1144292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3980EF00-DC25-4A61-9D75-1B9DE8B2B51A}"/>
                </a:ext>
              </a:extLst>
            </p:cNvPr>
            <p:cNvGrpSpPr/>
            <p:nvPr/>
          </p:nvGrpSpPr>
          <p:grpSpPr>
            <a:xfrm>
              <a:off x="6908736" y="4101305"/>
              <a:ext cx="548312" cy="265533"/>
              <a:chOff x="5165786" y="-1303968"/>
              <a:chExt cx="1431619" cy="693296"/>
            </a:xfrm>
          </p:grpSpPr>
          <p:sp>
            <p:nvSpPr>
              <p:cNvPr id="157" name="Freeform 55">
                <a:extLst>
                  <a:ext uri="{FF2B5EF4-FFF2-40B4-BE49-F238E27FC236}">
                    <a16:creationId xmlns:a16="http://schemas.microsoft.com/office/drawing/2014/main" id="{65CC2435-851C-49C8-9F92-61CF203288A5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664593" y="-830401"/>
                <a:ext cx="213106" cy="41284"/>
              </a:xfrm>
              <a:custGeom>
                <a:avLst/>
                <a:gdLst>
                  <a:gd name="T0" fmla="*/ 234 w 234"/>
                  <a:gd name="T1" fmla="*/ 0 h 48"/>
                  <a:gd name="T2" fmla="*/ 234 w 234"/>
                  <a:gd name="T3" fmla="*/ 0 h 48"/>
                  <a:gd name="T4" fmla="*/ 222 w 234"/>
                  <a:gd name="T5" fmla="*/ 12 h 48"/>
                  <a:gd name="T6" fmla="*/ 208 w 234"/>
                  <a:gd name="T7" fmla="*/ 22 h 48"/>
                  <a:gd name="T8" fmla="*/ 194 w 234"/>
                  <a:gd name="T9" fmla="*/ 30 h 48"/>
                  <a:gd name="T10" fmla="*/ 180 w 234"/>
                  <a:gd name="T11" fmla="*/ 36 h 48"/>
                  <a:gd name="T12" fmla="*/ 164 w 234"/>
                  <a:gd name="T13" fmla="*/ 42 h 48"/>
                  <a:gd name="T14" fmla="*/ 150 w 234"/>
                  <a:gd name="T15" fmla="*/ 46 h 48"/>
                  <a:gd name="T16" fmla="*/ 134 w 234"/>
                  <a:gd name="T17" fmla="*/ 48 h 48"/>
                  <a:gd name="T18" fmla="*/ 118 w 234"/>
                  <a:gd name="T19" fmla="*/ 48 h 48"/>
                  <a:gd name="T20" fmla="*/ 102 w 234"/>
                  <a:gd name="T21" fmla="*/ 48 h 48"/>
                  <a:gd name="T22" fmla="*/ 86 w 234"/>
                  <a:gd name="T23" fmla="*/ 46 h 48"/>
                  <a:gd name="T24" fmla="*/ 70 w 234"/>
                  <a:gd name="T25" fmla="*/ 42 h 48"/>
                  <a:gd name="T26" fmla="*/ 56 w 234"/>
                  <a:gd name="T27" fmla="*/ 36 h 48"/>
                  <a:gd name="T28" fmla="*/ 40 w 234"/>
                  <a:gd name="T29" fmla="*/ 30 h 48"/>
                  <a:gd name="T30" fmla="*/ 26 w 234"/>
                  <a:gd name="T31" fmla="*/ 20 h 48"/>
                  <a:gd name="T32" fmla="*/ 14 w 234"/>
                  <a:gd name="T33" fmla="*/ 10 h 48"/>
                  <a:gd name="T34" fmla="*/ 0 w 234"/>
                  <a:gd name="T3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4" h="48">
                    <a:moveTo>
                      <a:pt x="234" y="0"/>
                    </a:moveTo>
                    <a:lnTo>
                      <a:pt x="234" y="0"/>
                    </a:lnTo>
                    <a:lnTo>
                      <a:pt x="222" y="12"/>
                    </a:lnTo>
                    <a:lnTo>
                      <a:pt x="208" y="22"/>
                    </a:lnTo>
                    <a:lnTo>
                      <a:pt x="194" y="30"/>
                    </a:lnTo>
                    <a:lnTo>
                      <a:pt x="180" y="36"/>
                    </a:lnTo>
                    <a:lnTo>
                      <a:pt x="164" y="42"/>
                    </a:lnTo>
                    <a:lnTo>
                      <a:pt x="150" y="46"/>
                    </a:lnTo>
                    <a:lnTo>
                      <a:pt x="134" y="48"/>
                    </a:lnTo>
                    <a:lnTo>
                      <a:pt x="118" y="48"/>
                    </a:lnTo>
                    <a:lnTo>
                      <a:pt x="102" y="48"/>
                    </a:lnTo>
                    <a:lnTo>
                      <a:pt x="86" y="46"/>
                    </a:lnTo>
                    <a:lnTo>
                      <a:pt x="70" y="42"/>
                    </a:lnTo>
                    <a:lnTo>
                      <a:pt x="56" y="36"/>
                    </a:lnTo>
                    <a:lnTo>
                      <a:pt x="40" y="30"/>
                    </a:lnTo>
                    <a:lnTo>
                      <a:pt x="26" y="20"/>
                    </a:lnTo>
                    <a:lnTo>
                      <a:pt x="14" y="1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8" name="Freeform 56">
                <a:extLst>
                  <a:ext uri="{FF2B5EF4-FFF2-40B4-BE49-F238E27FC236}">
                    <a16:creationId xmlns:a16="http://schemas.microsoft.com/office/drawing/2014/main" id="{A91CBC52-0D1C-4B0F-B347-F847CE70E6B3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563940" y="-770551"/>
                <a:ext cx="355176" cy="70528"/>
              </a:xfrm>
              <a:custGeom>
                <a:avLst/>
                <a:gdLst>
                  <a:gd name="T0" fmla="*/ 390 w 390"/>
                  <a:gd name="T1" fmla="*/ 4 h 82"/>
                  <a:gd name="T2" fmla="*/ 390 w 390"/>
                  <a:gd name="T3" fmla="*/ 4 h 82"/>
                  <a:gd name="T4" fmla="*/ 370 w 390"/>
                  <a:gd name="T5" fmla="*/ 22 h 82"/>
                  <a:gd name="T6" fmla="*/ 348 w 390"/>
                  <a:gd name="T7" fmla="*/ 38 h 82"/>
                  <a:gd name="T8" fmla="*/ 324 w 390"/>
                  <a:gd name="T9" fmla="*/ 52 h 82"/>
                  <a:gd name="T10" fmla="*/ 300 w 390"/>
                  <a:gd name="T11" fmla="*/ 64 h 82"/>
                  <a:gd name="T12" fmla="*/ 274 w 390"/>
                  <a:gd name="T13" fmla="*/ 72 h 82"/>
                  <a:gd name="T14" fmla="*/ 248 w 390"/>
                  <a:gd name="T15" fmla="*/ 78 h 82"/>
                  <a:gd name="T16" fmla="*/ 222 w 390"/>
                  <a:gd name="T17" fmla="*/ 82 h 82"/>
                  <a:gd name="T18" fmla="*/ 196 w 390"/>
                  <a:gd name="T19" fmla="*/ 82 h 82"/>
                  <a:gd name="T20" fmla="*/ 168 w 390"/>
                  <a:gd name="T21" fmla="*/ 82 h 82"/>
                  <a:gd name="T22" fmla="*/ 142 w 390"/>
                  <a:gd name="T23" fmla="*/ 78 h 82"/>
                  <a:gd name="T24" fmla="*/ 116 w 390"/>
                  <a:gd name="T25" fmla="*/ 70 h 82"/>
                  <a:gd name="T26" fmla="*/ 92 w 390"/>
                  <a:gd name="T27" fmla="*/ 62 h 82"/>
                  <a:gd name="T28" fmla="*/ 68 w 390"/>
                  <a:gd name="T29" fmla="*/ 50 h 82"/>
                  <a:gd name="T30" fmla="*/ 44 w 390"/>
                  <a:gd name="T31" fmla="*/ 36 h 82"/>
                  <a:gd name="T32" fmla="*/ 22 w 390"/>
                  <a:gd name="T33" fmla="*/ 20 h 82"/>
                  <a:gd name="T34" fmla="*/ 0 w 390"/>
                  <a:gd name="T35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0" h="82">
                    <a:moveTo>
                      <a:pt x="390" y="4"/>
                    </a:moveTo>
                    <a:lnTo>
                      <a:pt x="390" y="4"/>
                    </a:lnTo>
                    <a:lnTo>
                      <a:pt x="370" y="22"/>
                    </a:lnTo>
                    <a:lnTo>
                      <a:pt x="348" y="38"/>
                    </a:lnTo>
                    <a:lnTo>
                      <a:pt x="324" y="52"/>
                    </a:lnTo>
                    <a:lnTo>
                      <a:pt x="300" y="64"/>
                    </a:lnTo>
                    <a:lnTo>
                      <a:pt x="274" y="72"/>
                    </a:lnTo>
                    <a:lnTo>
                      <a:pt x="248" y="78"/>
                    </a:lnTo>
                    <a:lnTo>
                      <a:pt x="222" y="82"/>
                    </a:lnTo>
                    <a:lnTo>
                      <a:pt x="196" y="82"/>
                    </a:lnTo>
                    <a:lnTo>
                      <a:pt x="168" y="82"/>
                    </a:lnTo>
                    <a:lnTo>
                      <a:pt x="142" y="78"/>
                    </a:lnTo>
                    <a:lnTo>
                      <a:pt x="116" y="70"/>
                    </a:lnTo>
                    <a:lnTo>
                      <a:pt x="92" y="62"/>
                    </a:lnTo>
                    <a:lnTo>
                      <a:pt x="68" y="50"/>
                    </a:lnTo>
                    <a:lnTo>
                      <a:pt x="44" y="36"/>
                    </a:lnTo>
                    <a:lnTo>
                      <a:pt x="22" y="2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9" name="Freeform 57">
                <a:extLst>
                  <a:ext uri="{FF2B5EF4-FFF2-40B4-BE49-F238E27FC236}">
                    <a16:creationId xmlns:a16="http://schemas.microsoft.com/office/drawing/2014/main" id="{2BAD2738-DB9A-4A11-8380-CE7342FE5764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464734" y="-708723"/>
                <a:ext cx="495426" cy="98051"/>
              </a:xfrm>
              <a:custGeom>
                <a:avLst/>
                <a:gdLst>
                  <a:gd name="T0" fmla="*/ 544 w 544"/>
                  <a:gd name="T1" fmla="*/ 4 h 114"/>
                  <a:gd name="T2" fmla="*/ 544 w 544"/>
                  <a:gd name="T3" fmla="*/ 4 h 114"/>
                  <a:gd name="T4" fmla="*/ 516 w 544"/>
                  <a:gd name="T5" fmla="*/ 30 h 114"/>
                  <a:gd name="T6" fmla="*/ 484 w 544"/>
                  <a:gd name="T7" fmla="*/ 52 h 114"/>
                  <a:gd name="T8" fmla="*/ 450 w 544"/>
                  <a:gd name="T9" fmla="*/ 72 h 114"/>
                  <a:gd name="T10" fmla="*/ 416 w 544"/>
                  <a:gd name="T11" fmla="*/ 88 h 114"/>
                  <a:gd name="T12" fmla="*/ 382 w 544"/>
                  <a:gd name="T13" fmla="*/ 100 h 114"/>
                  <a:gd name="T14" fmla="*/ 344 w 544"/>
                  <a:gd name="T15" fmla="*/ 108 h 114"/>
                  <a:gd name="T16" fmla="*/ 308 w 544"/>
                  <a:gd name="T17" fmla="*/ 114 h 114"/>
                  <a:gd name="T18" fmla="*/ 272 w 544"/>
                  <a:gd name="T19" fmla="*/ 114 h 114"/>
                  <a:gd name="T20" fmla="*/ 234 w 544"/>
                  <a:gd name="T21" fmla="*/ 112 h 114"/>
                  <a:gd name="T22" fmla="*/ 198 w 544"/>
                  <a:gd name="T23" fmla="*/ 108 h 114"/>
                  <a:gd name="T24" fmla="*/ 162 w 544"/>
                  <a:gd name="T25" fmla="*/ 98 h 114"/>
                  <a:gd name="T26" fmla="*/ 126 w 544"/>
                  <a:gd name="T27" fmla="*/ 86 h 114"/>
                  <a:gd name="T28" fmla="*/ 92 w 544"/>
                  <a:gd name="T29" fmla="*/ 70 h 114"/>
                  <a:gd name="T30" fmla="*/ 60 w 544"/>
                  <a:gd name="T31" fmla="*/ 50 h 114"/>
                  <a:gd name="T32" fmla="*/ 28 w 544"/>
                  <a:gd name="T33" fmla="*/ 26 h 114"/>
                  <a:gd name="T34" fmla="*/ 0 w 544"/>
                  <a:gd name="T3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4" h="114">
                    <a:moveTo>
                      <a:pt x="544" y="4"/>
                    </a:moveTo>
                    <a:lnTo>
                      <a:pt x="544" y="4"/>
                    </a:lnTo>
                    <a:lnTo>
                      <a:pt x="516" y="30"/>
                    </a:lnTo>
                    <a:lnTo>
                      <a:pt x="484" y="52"/>
                    </a:lnTo>
                    <a:lnTo>
                      <a:pt x="450" y="72"/>
                    </a:lnTo>
                    <a:lnTo>
                      <a:pt x="416" y="88"/>
                    </a:lnTo>
                    <a:lnTo>
                      <a:pt x="382" y="100"/>
                    </a:lnTo>
                    <a:lnTo>
                      <a:pt x="344" y="108"/>
                    </a:lnTo>
                    <a:lnTo>
                      <a:pt x="308" y="114"/>
                    </a:lnTo>
                    <a:lnTo>
                      <a:pt x="272" y="114"/>
                    </a:lnTo>
                    <a:lnTo>
                      <a:pt x="234" y="112"/>
                    </a:lnTo>
                    <a:lnTo>
                      <a:pt x="198" y="108"/>
                    </a:lnTo>
                    <a:lnTo>
                      <a:pt x="162" y="98"/>
                    </a:lnTo>
                    <a:lnTo>
                      <a:pt x="126" y="86"/>
                    </a:lnTo>
                    <a:lnTo>
                      <a:pt x="92" y="70"/>
                    </a:lnTo>
                    <a:lnTo>
                      <a:pt x="60" y="50"/>
                    </a:lnTo>
                    <a:lnTo>
                      <a:pt x="28" y="26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60" name="Freeform 59">
                <a:extLst>
                  <a:ext uri="{FF2B5EF4-FFF2-40B4-BE49-F238E27FC236}">
                    <a16:creationId xmlns:a16="http://schemas.microsoft.com/office/drawing/2014/main" id="{CC0329CE-CA8F-47BA-99F9-DA2175AF62C6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6043694" y="-978076"/>
                <a:ext cx="553711" cy="185780"/>
              </a:xfrm>
              <a:custGeom>
                <a:avLst/>
                <a:gdLst>
                  <a:gd name="T0" fmla="*/ 556 w 608"/>
                  <a:gd name="T1" fmla="*/ 216 h 216"/>
                  <a:gd name="T2" fmla="*/ 50 w 608"/>
                  <a:gd name="T3" fmla="*/ 216 h 216"/>
                  <a:gd name="T4" fmla="*/ 50 w 608"/>
                  <a:gd name="T5" fmla="*/ 216 h 216"/>
                  <a:gd name="T6" fmla="*/ 40 w 608"/>
                  <a:gd name="T7" fmla="*/ 214 h 216"/>
                  <a:gd name="T8" fmla="*/ 30 w 608"/>
                  <a:gd name="T9" fmla="*/ 212 h 216"/>
                  <a:gd name="T10" fmla="*/ 22 w 608"/>
                  <a:gd name="T11" fmla="*/ 208 h 216"/>
                  <a:gd name="T12" fmla="*/ 14 w 608"/>
                  <a:gd name="T13" fmla="*/ 202 h 216"/>
                  <a:gd name="T14" fmla="*/ 8 w 608"/>
                  <a:gd name="T15" fmla="*/ 194 h 216"/>
                  <a:gd name="T16" fmla="*/ 4 w 608"/>
                  <a:gd name="T17" fmla="*/ 184 h 216"/>
                  <a:gd name="T18" fmla="*/ 0 w 608"/>
                  <a:gd name="T19" fmla="*/ 176 h 216"/>
                  <a:gd name="T20" fmla="*/ 0 w 608"/>
                  <a:gd name="T21" fmla="*/ 166 h 216"/>
                  <a:gd name="T22" fmla="*/ 0 w 608"/>
                  <a:gd name="T23" fmla="*/ 50 h 216"/>
                  <a:gd name="T24" fmla="*/ 0 w 608"/>
                  <a:gd name="T25" fmla="*/ 50 h 216"/>
                  <a:gd name="T26" fmla="*/ 0 w 608"/>
                  <a:gd name="T27" fmla="*/ 40 h 216"/>
                  <a:gd name="T28" fmla="*/ 4 w 608"/>
                  <a:gd name="T29" fmla="*/ 30 h 216"/>
                  <a:gd name="T30" fmla="*/ 8 w 608"/>
                  <a:gd name="T31" fmla="*/ 22 h 216"/>
                  <a:gd name="T32" fmla="*/ 14 w 608"/>
                  <a:gd name="T33" fmla="*/ 14 h 216"/>
                  <a:gd name="T34" fmla="*/ 22 w 608"/>
                  <a:gd name="T35" fmla="*/ 8 h 216"/>
                  <a:gd name="T36" fmla="*/ 30 w 608"/>
                  <a:gd name="T37" fmla="*/ 4 h 216"/>
                  <a:gd name="T38" fmla="*/ 40 w 608"/>
                  <a:gd name="T39" fmla="*/ 0 h 216"/>
                  <a:gd name="T40" fmla="*/ 50 w 608"/>
                  <a:gd name="T41" fmla="*/ 0 h 216"/>
                  <a:gd name="T42" fmla="*/ 556 w 608"/>
                  <a:gd name="T43" fmla="*/ 0 h 216"/>
                  <a:gd name="T44" fmla="*/ 556 w 608"/>
                  <a:gd name="T45" fmla="*/ 0 h 216"/>
                  <a:gd name="T46" fmla="*/ 568 w 608"/>
                  <a:gd name="T47" fmla="*/ 0 h 216"/>
                  <a:gd name="T48" fmla="*/ 576 w 608"/>
                  <a:gd name="T49" fmla="*/ 4 h 216"/>
                  <a:gd name="T50" fmla="*/ 586 w 608"/>
                  <a:gd name="T51" fmla="*/ 8 h 216"/>
                  <a:gd name="T52" fmla="*/ 592 w 608"/>
                  <a:gd name="T53" fmla="*/ 14 h 216"/>
                  <a:gd name="T54" fmla="*/ 598 w 608"/>
                  <a:gd name="T55" fmla="*/ 22 h 216"/>
                  <a:gd name="T56" fmla="*/ 604 w 608"/>
                  <a:gd name="T57" fmla="*/ 30 h 216"/>
                  <a:gd name="T58" fmla="*/ 606 w 608"/>
                  <a:gd name="T59" fmla="*/ 40 h 216"/>
                  <a:gd name="T60" fmla="*/ 608 w 608"/>
                  <a:gd name="T61" fmla="*/ 50 h 216"/>
                  <a:gd name="T62" fmla="*/ 608 w 608"/>
                  <a:gd name="T63" fmla="*/ 166 h 216"/>
                  <a:gd name="T64" fmla="*/ 608 w 608"/>
                  <a:gd name="T65" fmla="*/ 166 h 216"/>
                  <a:gd name="T66" fmla="*/ 606 w 608"/>
                  <a:gd name="T67" fmla="*/ 176 h 216"/>
                  <a:gd name="T68" fmla="*/ 604 w 608"/>
                  <a:gd name="T69" fmla="*/ 184 h 216"/>
                  <a:gd name="T70" fmla="*/ 598 w 608"/>
                  <a:gd name="T71" fmla="*/ 194 h 216"/>
                  <a:gd name="T72" fmla="*/ 592 w 608"/>
                  <a:gd name="T73" fmla="*/ 202 h 216"/>
                  <a:gd name="T74" fmla="*/ 586 w 608"/>
                  <a:gd name="T75" fmla="*/ 208 h 216"/>
                  <a:gd name="T76" fmla="*/ 576 w 608"/>
                  <a:gd name="T77" fmla="*/ 212 h 216"/>
                  <a:gd name="T78" fmla="*/ 568 w 608"/>
                  <a:gd name="T79" fmla="*/ 214 h 216"/>
                  <a:gd name="T80" fmla="*/ 556 w 608"/>
                  <a:gd name="T81" fmla="*/ 216 h 216"/>
                  <a:gd name="T82" fmla="*/ 556 w 608"/>
                  <a:gd name="T8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56" y="216"/>
                    </a:moveTo>
                    <a:lnTo>
                      <a:pt x="50" y="216"/>
                    </a:lnTo>
                    <a:lnTo>
                      <a:pt x="50" y="216"/>
                    </a:lnTo>
                    <a:lnTo>
                      <a:pt x="40" y="214"/>
                    </a:lnTo>
                    <a:lnTo>
                      <a:pt x="30" y="212"/>
                    </a:lnTo>
                    <a:lnTo>
                      <a:pt x="22" y="208"/>
                    </a:lnTo>
                    <a:lnTo>
                      <a:pt x="14" y="202"/>
                    </a:lnTo>
                    <a:lnTo>
                      <a:pt x="8" y="194"/>
                    </a:lnTo>
                    <a:lnTo>
                      <a:pt x="4" y="184"/>
                    </a:lnTo>
                    <a:lnTo>
                      <a:pt x="0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0"/>
                    </a:lnTo>
                    <a:lnTo>
                      <a:pt x="4" y="30"/>
                    </a:lnTo>
                    <a:lnTo>
                      <a:pt x="8" y="22"/>
                    </a:lnTo>
                    <a:lnTo>
                      <a:pt x="14" y="14"/>
                    </a:lnTo>
                    <a:lnTo>
                      <a:pt x="22" y="8"/>
                    </a:lnTo>
                    <a:lnTo>
                      <a:pt x="30" y="4"/>
                    </a:lnTo>
                    <a:lnTo>
                      <a:pt x="40" y="0"/>
                    </a:lnTo>
                    <a:lnTo>
                      <a:pt x="50" y="0"/>
                    </a:lnTo>
                    <a:lnTo>
                      <a:pt x="556" y="0"/>
                    </a:lnTo>
                    <a:lnTo>
                      <a:pt x="556" y="0"/>
                    </a:lnTo>
                    <a:lnTo>
                      <a:pt x="568" y="0"/>
                    </a:lnTo>
                    <a:lnTo>
                      <a:pt x="576" y="4"/>
                    </a:lnTo>
                    <a:lnTo>
                      <a:pt x="586" y="8"/>
                    </a:lnTo>
                    <a:lnTo>
                      <a:pt x="592" y="14"/>
                    </a:lnTo>
                    <a:lnTo>
                      <a:pt x="598" y="22"/>
                    </a:lnTo>
                    <a:lnTo>
                      <a:pt x="604" y="30"/>
                    </a:lnTo>
                    <a:lnTo>
                      <a:pt x="606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6" y="176"/>
                    </a:lnTo>
                    <a:lnTo>
                      <a:pt x="604" y="184"/>
                    </a:lnTo>
                    <a:lnTo>
                      <a:pt x="598" y="194"/>
                    </a:lnTo>
                    <a:lnTo>
                      <a:pt x="592" y="202"/>
                    </a:lnTo>
                    <a:lnTo>
                      <a:pt x="586" y="208"/>
                    </a:lnTo>
                    <a:lnTo>
                      <a:pt x="576" y="212"/>
                    </a:lnTo>
                    <a:lnTo>
                      <a:pt x="568" y="214"/>
                    </a:lnTo>
                    <a:lnTo>
                      <a:pt x="556" y="216"/>
                    </a:lnTo>
                    <a:lnTo>
                      <a:pt x="556" y="216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61" name="Line 60">
                <a:extLst>
                  <a:ext uri="{FF2B5EF4-FFF2-40B4-BE49-F238E27FC236}">
                    <a16:creationId xmlns:a16="http://schemas.microsoft.com/office/drawing/2014/main" id="{FCCA28E5-E893-4C73-B3AF-2FF603B93B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>
                <a:off x="5969692" y="-1045932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62" name="Line 61">
                <a:extLst>
                  <a:ext uri="{FF2B5EF4-FFF2-40B4-BE49-F238E27FC236}">
                    <a16:creationId xmlns:a16="http://schemas.microsoft.com/office/drawing/2014/main" id="{3EB4CDFE-3146-4B36-B114-B4BF9C9010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>
                <a:off x="5947718" y="-989818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63" name="Freeform 62">
                <a:extLst>
                  <a:ext uri="{FF2B5EF4-FFF2-40B4-BE49-F238E27FC236}">
                    <a16:creationId xmlns:a16="http://schemas.microsoft.com/office/drawing/2014/main" id="{FA291A5B-02A1-4C35-9729-5F9AFE7FB783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802306" y="-1123505"/>
                <a:ext cx="160285" cy="151376"/>
              </a:xfrm>
              <a:custGeom>
                <a:avLst/>
                <a:gdLst>
                  <a:gd name="T0" fmla="*/ 0 w 176"/>
                  <a:gd name="T1" fmla="*/ 88 h 176"/>
                  <a:gd name="T2" fmla="*/ 0 w 176"/>
                  <a:gd name="T3" fmla="*/ 88 h 176"/>
                  <a:gd name="T4" fmla="*/ 0 w 176"/>
                  <a:gd name="T5" fmla="*/ 70 h 176"/>
                  <a:gd name="T6" fmla="*/ 6 w 176"/>
                  <a:gd name="T7" fmla="*/ 54 h 176"/>
                  <a:gd name="T8" fmla="*/ 14 w 176"/>
                  <a:gd name="T9" fmla="*/ 38 h 176"/>
                  <a:gd name="T10" fmla="*/ 24 w 176"/>
                  <a:gd name="T11" fmla="*/ 26 h 176"/>
                  <a:gd name="T12" fmla="*/ 38 w 176"/>
                  <a:gd name="T13" fmla="*/ 14 h 176"/>
                  <a:gd name="T14" fmla="*/ 52 w 176"/>
                  <a:gd name="T15" fmla="*/ 6 h 176"/>
                  <a:gd name="T16" fmla="*/ 70 w 176"/>
                  <a:gd name="T17" fmla="*/ 2 h 176"/>
                  <a:gd name="T18" fmla="*/ 88 w 176"/>
                  <a:gd name="T19" fmla="*/ 0 h 176"/>
                  <a:gd name="T20" fmla="*/ 88 w 176"/>
                  <a:gd name="T21" fmla="*/ 0 h 176"/>
                  <a:gd name="T22" fmla="*/ 104 w 176"/>
                  <a:gd name="T23" fmla="*/ 2 h 176"/>
                  <a:gd name="T24" fmla="*/ 122 w 176"/>
                  <a:gd name="T25" fmla="*/ 6 h 176"/>
                  <a:gd name="T26" fmla="*/ 136 w 176"/>
                  <a:gd name="T27" fmla="*/ 14 h 176"/>
                  <a:gd name="T28" fmla="*/ 150 w 176"/>
                  <a:gd name="T29" fmla="*/ 26 h 176"/>
                  <a:gd name="T30" fmla="*/ 160 w 176"/>
                  <a:gd name="T31" fmla="*/ 38 h 176"/>
                  <a:gd name="T32" fmla="*/ 168 w 176"/>
                  <a:gd name="T33" fmla="*/ 54 h 176"/>
                  <a:gd name="T34" fmla="*/ 174 w 176"/>
                  <a:gd name="T35" fmla="*/ 70 h 176"/>
                  <a:gd name="T36" fmla="*/ 176 w 176"/>
                  <a:gd name="T37" fmla="*/ 88 h 176"/>
                  <a:gd name="T38" fmla="*/ 176 w 176"/>
                  <a:gd name="T39" fmla="*/ 88 h 176"/>
                  <a:gd name="T40" fmla="*/ 174 w 176"/>
                  <a:gd name="T41" fmla="*/ 106 h 176"/>
                  <a:gd name="T42" fmla="*/ 168 w 176"/>
                  <a:gd name="T43" fmla="*/ 122 h 176"/>
                  <a:gd name="T44" fmla="*/ 160 w 176"/>
                  <a:gd name="T45" fmla="*/ 138 h 176"/>
                  <a:gd name="T46" fmla="*/ 150 w 176"/>
                  <a:gd name="T47" fmla="*/ 150 h 176"/>
                  <a:gd name="T48" fmla="*/ 136 w 176"/>
                  <a:gd name="T49" fmla="*/ 160 h 176"/>
                  <a:gd name="T50" fmla="*/ 122 w 176"/>
                  <a:gd name="T51" fmla="*/ 170 h 176"/>
                  <a:gd name="T52" fmla="*/ 104 w 176"/>
                  <a:gd name="T53" fmla="*/ 174 h 176"/>
                  <a:gd name="T54" fmla="*/ 88 w 176"/>
                  <a:gd name="T55" fmla="*/ 176 h 176"/>
                  <a:gd name="T56" fmla="*/ 88 w 176"/>
                  <a:gd name="T57" fmla="*/ 176 h 176"/>
                  <a:gd name="T58" fmla="*/ 70 w 176"/>
                  <a:gd name="T59" fmla="*/ 174 h 176"/>
                  <a:gd name="T60" fmla="*/ 52 w 176"/>
                  <a:gd name="T61" fmla="*/ 170 h 176"/>
                  <a:gd name="T62" fmla="*/ 38 w 176"/>
                  <a:gd name="T63" fmla="*/ 160 h 176"/>
                  <a:gd name="T64" fmla="*/ 24 w 176"/>
                  <a:gd name="T65" fmla="*/ 150 h 176"/>
                  <a:gd name="T66" fmla="*/ 14 w 176"/>
                  <a:gd name="T67" fmla="*/ 138 h 176"/>
                  <a:gd name="T68" fmla="*/ 6 w 176"/>
                  <a:gd name="T69" fmla="*/ 122 h 176"/>
                  <a:gd name="T70" fmla="*/ 0 w 176"/>
                  <a:gd name="T71" fmla="*/ 106 h 176"/>
                  <a:gd name="T72" fmla="*/ 0 w 176"/>
                  <a:gd name="T73" fmla="*/ 88 h 176"/>
                  <a:gd name="T74" fmla="*/ 0 w 176"/>
                  <a:gd name="T75" fmla="*/ 8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6" h="176">
                    <a:moveTo>
                      <a:pt x="0" y="88"/>
                    </a:moveTo>
                    <a:lnTo>
                      <a:pt x="0" y="88"/>
                    </a:lnTo>
                    <a:lnTo>
                      <a:pt x="0" y="70"/>
                    </a:lnTo>
                    <a:lnTo>
                      <a:pt x="6" y="54"/>
                    </a:lnTo>
                    <a:lnTo>
                      <a:pt x="14" y="38"/>
                    </a:lnTo>
                    <a:lnTo>
                      <a:pt x="24" y="26"/>
                    </a:lnTo>
                    <a:lnTo>
                      <a:pt x="38" y="14"/>
                    </a:lnTo>
                    <a:lnTo>
                      <a:pt x="52" y="6"/>
                    </a:lnTo>
                    <a:lnTo>
                      <a:pt x="70" y="2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104" y="2"/>
                    </a:lnTo>
                    <a:lnTo>
                      <a:pt x="122" y="6"/>
                    </a:lnTo>
                    <a:lnTo>
                      <a:pt x="136" y="14"/>
                    </a:lnTo>
                    <a:lnTo>
                      <a:pt x="150" y="26"/>
                    </a:lnTo>
                    <a:lnTo>
                      <a:pt x="160" y="38"/>
                    </a:lnTo>
                    <a:lnTo>
                      <a:pt x="168" y="54"/>
                    </a:lnTo>
                    <a:lnTo>
                      <a:pt x="174" y="70"/>
                    </a:lnTo>
                    <a:lnTo>
                      <a:pt x="176" y="88"/>
                    </a:lnTo>
                    <a:lnTo>
                      <a:pt x="176" y="88"/>
                    </a:lnTo>
                    <a:lnTo>
                      <a:pt x="174" y="106"/>
                    </a:lnTo>
                    <a:lnTo>
                      <a:pt x="168" y="122"/>
                    </a:lnTo>
                    <a:lnTo>
                      <a:pt x="160" y="138"/>
                    </a:lnTo>
                    <a:lnTo>
                      <a:pt x="150" y="150"/>
                    </a:lnTo>
                    <a:lnTo>
                      <a:pt x="136" y="160"/>
                    </a:lnTo>
                    <a:lnTo>
                      <a:pt x="122" y="170"/>
                    </a:lnTo>
                    <a:lnTo>
                      <a:pt x="104" y="174"/>
                    </a:lnTo>
                    <a:lnTo>
                      <a:pt x="88" y="176"/>
                    </a:lnTo>
                    <a:lnTo>
                      <a:pt x="88" y="176"/>
                    </a:lnTo>
                    <a:lnTo>
                      <a:pt x="70" y="174"/>
                    </a:lnTo>
                    <a:lnTo>
                      <a:pt x="52" y="170"/>
                    </a:lnTo>
                    <a:lnTo>
                      <a:pt x="38" y="160"/>
                    </a:lnTo>
                    <a:lnTo>
                      <a:pt x="24" y="150"/>
                    </a:lnTo>
                    <a:lnTo>
                      <a:pt x="14" y="138"/>
                    </a:lnTo>
                    <a:lnTo>
                      <a:pt x="6" y="122"/>
                    </a:lnTo>
                    <a:lnTo>
                      <a:pt x="0" y="106"/>
                    </a:lnTo>
                    <a:lnTo>
                      <a:pt x="0" y="88"/>
                    </a:lnTo>
                    <a:lnTo>
                      <a:pt x="0" y="88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64" name="Freeform 63">
                <a:extLst>
                  <a:ext uri="{FF2B5EF4-FFF2-40B4-BE49-F238E27FC236}">
                    <a16:creationId xmlns:a16="http://schemas.microsoft.com/office/drawing/2014/main" id="{8965068C-3388-49F6-A8CF-872638ABD23A}"/>
                  </a:ext>
                </a:extLst>
              </p:cNvPr>
              <p:cNvSpPr>
                <a:spLocks/>
              </p:cNvSpPr>
              <p:nvPr/>
            </p:nvSpPr>
            <p:spPr bwMode="auto">
              <a:xfrm rot="1260000">
                <a:off x="5165786" y="-1303968"/>
                <a:ext cx="553711" cy="185780"/>
              </a:xfrm>
              <a:custGeom>
                <a:avLst/>
                <a:gdLst>
                  <a:gd name="T0" fmla="*/ 52 w 608"/>
                  <a:gd name="T1" fmla="*/ 0 h 216"/>
                  <a:gd name="T2" fmla="*/ 558 w 608"/>
                  <a:gd name="T3" fmla="*/ 0 h 216"/>
                  <a:gd name="T4" fmla="*/ 558 w 608"/>
                  <a:gd name="T5" fmla="*/ 0 h 216"/>
                  <a:gd name="T6" fmla="*/ 568 w 608"/>
                  <a:gd name="T7" fmla="*/ 0 h 216"/>
                  <a:gd name="T8" fmla="*/ 578 w 608"/>
                  <a:gd name="T9" fmla="*/ 4 h 216"/>
                  <a:gd name="T10" fmla="*/ 586 w 608"/>
                  <a:gd name="T11" fmla="*/ 8 h 216"/>
                  <a:gd name="T12" fmla="*/ 594 w 608"/>
                  <a:gd name="T13" fmla="*/ 14 h 216"/>
                  <a:gd name="T14" fmla="*/ 600 w 608"/>
                  <a:gd name="T15" fmla="*/ 22 h 216"/>
                  <a:gd name="T16" fmla="*/ 604 w 608"/>
                  <a:gd name="T17" fmla="*/ 30 h 216"/>
                  <a:gd name="T18" fmla="*/ 608 w 608"/>
                  <a:gd name="T19" fmla="*/ 40 h 216"/>
                  <a:gd name="T20" fmla="*/ 608 w 608"/>
                  <a:gd name="T21" fmla="*/ 50 h 216"/>
                  <a:gd name="T22" fmla="*/ 608 w 608"/>
                  <a:gd name="T23" fmla="*/ 166 h 216"/>
                  <a:gd name="T24" fmla="*/ 608 w 608"/>
                  <a:gd name="T25" fmla="*/ 166 h 216"/>
                  <a:gd name="T26" fmla="*/ 608 w 608"/>
                  <a:gd name="T27" fmla="*/ 176 h 216"/>
                  <a:gd name="T28" fmla="*/ 604 w 608"/>
                  <a:gd name="T29" fmla="*/ 184 h 216"/>
                  <a:gd name="T30" fmla="*/ 600 w 608"/>
                  <a:gd name="T31" fmla="*/ 194 h 216"/>
                  <a:gd name="T32" fmla="*/ 594 w 608"/>
                  <a:gd name="T33" fmla="*/ 202 h 216"/>
                  <a:gd name="T34" fmla="*/ 586 w 608"/>
                  <a:gd name="T35" fmla="*/ 208 h 216"/>
                  <a:gd name="T36" fmla="*/ 578 w 608"/>
                  <a:gd name="T37" fmla="*/ 212 h 216"/>
                  <a:gd name="T38" fmla="*/ 568 w 608"/>
                  <a:gd name="T39" fmla="*/ 214 h 216"/>
                  <a:gd name="T40" fmla="*/ 558 w 608"/>
                  <a:gd name="T41" fmla="*/ 216 h 216"/>
                  <a:gd name="T42" fmla="*/ 52 w 608"/>
                  <a:gd name="T43" fmla="*/ 216 h 216"/>
                  <a:gd name="T44" fmla="*/ 52 w 608"/>
                  <a:gd name="T45" fmla="*/ 216 h 216"/>
                  <a:gd name="T46" fmla="*/ 42 w 608"/>
                  <a:gd name="T47" fmla="*/ 214 h 216"/>
                  <a:gd name="T48" fmla="*/ 32 w 608"/>
                  <a:gd name="T49" fmla="*/ 212 h 216"/>
                  <a:gd name="T50" fmla="*/ 24 w 608"/>
                  <a:gd name="T51" fmla="*/ 208 h 216"/>
                  <a:gd name="T52" fmla="*/ 16 w 608"/>
                  <a:gd name="T53" fmla="*/ 202 h 216"/>
                  <a:gd name="T54" fmla="*/ 10 w 608"/>
                  <a:gd name="T55" fmla="*/ 194 h 216"/>
                  <a:gd name="T56" fmla="*/ 4 w 608"/>
                  <a:gd name="T57" fmla="*/ 184 h 216"/>
                  <a:gd name="T58" fmla="*/ 2 w 608"/>
                  <a:gd name="T59" fmla="*/ 176 h 216"/>
                  <a:gd name="T60" fmla="*/ 0 w 608"/>
                  <a:gd name="T61" fmla="*/ 166 h 216"/>
                  <a:gd name="T62" fmla="*/ 0 w 608"/>
                  <a:gd name="T63" fmla="*/ 50 h 216"/>
                  <a:gd name="T64" fmla="*/ 0 w 608"/>
                  <a:gd name="T65" fmla="*/ 50 h 216"/>
                  <a:gd name="T66" fmla="*/ 2 w 608"/>
                  <a:gd name="T67" fmla="*/ 40 h 216"/>
                  <a:gd name="T68" fmla="*/ 4 w 608"/>
                  <a:gd name="T69" fmla="*/ 30 h 216"/>
                  <a:gd name="T70" fmla="*/ 10 w 608"/>
                  <a:gd name="T71" fmla="*/ 22 h 216"/>
                  <a:gd name="T72" fmla="*/ 16 w 608"/>
                  <a:gd name="T73" fmla="*/ 14 h 216"/>
                  <a:gd name="T74" fmla="*/ 24 w 608"/>
                  <a:gd name="T75" fmla="*/ 8 h 216"/>
                  <a:gd name="T76" fmla="*/ 32 w 608"/>
                  <a:gd name="T77" fmla="*/ 4 h 216"/>
                  <a:gd name="T78" fmla="*/ 42 w 608"/>
                  <a:gd name="T79" fmla="*/ 0 h 216"/>
                  <a:gd name="T80" fmla="*/ 52 w 608"/>
                  <a:gd name="T81" fmla="*/ 0 h 216"/>
                  <a:gd name="T82" fmla="*/ 52 w 608"/>
                  <a:gd name="T83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08" h="216">
                    <a:moveTo>
                      <a:pt x="52" y="0"/>
                    </a:moveTo>
                    <a:lnTo>
                      <a:pt x="558" y="0"/>
                    </a:lnTo>
                    <a:lnTo>
                      <a:pt x="558" y="0"/>
                    </a:lnTo>
                    <a:lnTo>
                      <a:pt x="568" y="0"/>
                    </a:lnTo>
                    <a:lnTo>
                      <a:pt x="578" y="4"/>
                    </a:lnTo>
                    <a:lnTo>
                      <a:pt x="586" y="8"/>
                    </a:lnTo>
                    <a:lnTo>
                      <a:pt x="594" y="14"/>
                    </a:lnTo>
                    <a:lnTo>
                      <a:pt x="600" y="22"/>
                    </a:lnTo>
                    <a:lnTo>
                      <a:pt x="604" y="30"/>
                    </a:lnTo>
                    <a:lnTo>
                      <a:pt x="608" y="40"/>
                    </a:lnTo>
                    <a:lnTo>
                      <a:pt x="608" y="50"/>
                    </a:lnTo>
                    <a:lnTo>
                      <a:pt x="608" y="166"/>
                    </a:lnTo>
                    <a:lnTo>
                      <a:pt x="608" y="166"/>
                    </a:lnTo>
                    <a:lnTo>
                      <a:pt x="608" y="176"/>
                    </a:lnTo>
                    <a:lnTo>
                      <a:pt x="604" y="184"/>
                    </a:lnTo>
                    <a:lnTo>
                      <a:pt x="600" y="194"/>
                    </a:lnTo>
                    <a:lnTo>
                      <a:pt x="594" y="202"/>
                    </a:lnTo>
                    <a:lnTo>
                      <a:pt x="586" y="208"/>
                    </a:lnTo>
                    <a:lnTo>
                      <a:pt x="578" y="212"/>
                    </a:lnTo>
                    <a:lnTo>
                      <a:pt x="568" y="214"/>
                    </a:lnTo>
                    <a:lnTo>
                      <a:pt x="558" y="216"/>
                    </a:lnTo>
                    <a:lnTo>
                      <a:pt x="52" y="216"/>
                    </a:lnTo>
                    <a:lnTo>
                      <a:pt x="52" y="216"/>
                    </a:lnTo>
                    <a:lnTo>
                      <a:pt x="42" y="214"/>
                    </a:lnTo>
                    <a:lnTo>
                      <a:pt x="32" y="212"/>
                    </a:lnTo>
                    <a:lnTo>
                      <a:pt x="24" y="208"/>
                    </a:lnTo>
                    <a:lnTo>
                      <a:pt x="16" y="202"/>
                    </a:lnTo>
                    <a:lnTo>
                      <a:pt x="10" y="194"/>
                    </a:lnTo>
                    <a:lnTo>
                      <a:pt x="4" y="184"/>
                    </a:lnTo>
                    <a:lnTo>
                      <a:pt x="2" y="176"/>
                    </a:lnTo>
                    <a:lnTo>
                      <a:pt x="0" y="166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40"/>
                    </a:lnTo>
                    <a:lnTo>
                      <a:pt x="4" y="30"/>
                    </a:lnTo>
                    <a:lnTo>
                      <a:pt x="10" y="22"/>
                    </a:lnTo>
                    <a:lnTo>
                      <a:pt x="16" y="14"/>
                    </a:lnTo>
                    <a:lnTo>
                      <a:pt x="24" y="8"/>
                    </a:lnTo>
                    <a:lnTo>
                      <a:pt x="32" y="4"/>
                    </a:lnTo>
                    <a:lnTo>
                      <a:pt x="42" y="0"/>
                    </a:lnTo>
                    <a:lnTo>
                      <a:pt x="52" y="0"/>
                    </a:lnTo>
                    <a:lnTo>
                      <a:pt x="52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65" name="Line 64">
                <a:extLst>
                  <a:ext uri="{FF2B5EF4-FFF2-40B4-BE49-F238E27FC236}">
                    <a16:creationId xmlns:a16="http://schemas.microsoft.com/office/drawing/2014/main" id="{C630DDDC-C1B9-41FC-BD2E-A4A1D31F8A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V="1">
                <a:off x="5687858" y="-1089898"/>
                <a:ext cx="105642" cy="3956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66" name="Line 65">
                <a:extLst>
                  <a:ext uri="{FF2B5EF4-FFF2-40B4-BE49-F238E27FC236}">
                    <a16:creationId xmlns:a16="http://schemas.microsoft.com/office/drawing/2014/main" id="{20E39539-2B5A-4469-B1CF-A18E72613D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260000" flipH="1" flipV="1">
                <a:off x="5709832" y="-1144292"/>
                <a:ext cx="105642" cy="37844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55313" name="Group 55312">
              <a:extLst>
                <a:ext uri="{FF2B5EF4-FFF2-40B4-BE49-F238E27FC236}">
                  <a16:creationId xmlns:a16="http://schemas.microsoft.com/office/drawing/2014/main" id="{ABB3463A-2D9C-47F0-9476-1B6968EC4359}"/>
                </a:ext>
              </a:extLst>
            </p:cNvPr>
            <p:cNvGrpSpPr/>
            <p:nvPr/>
          </p:nvGrpSpPr>
          <p:grpSpPr>
            <a:xfrm>
              <a:off x="256674" y="1997287"/>
              <a:ext cx="7204507" cy="3192130"/>
              <a:chOff x="256674" y="1997287"/>
              <a:chExt cx="7204507" cy="3192130"/>
            </a:xfrm>
          </p:grpSpPr>
          <p:sp>
            <p:nvSpPr>
              <p:cNvPr id="55312" name="Freeform: Shape 55311">
                <a:extLst>
                  <a:ext uri="{FF2B5EF4-FFF2-40B4-BE49-F238E27FC236}">
                    <a16:creationId xmlns:a16="http://schemas.microsoft.com/office/drawing/2014/main" id="{F8D193CE-C765-4525-88D8-719B87969F61}"/>
                  </a:ext>
                </a:extLst>
              </p:cNvPr>
              <p:cNvSpPr/>
              <p:nvPr/>
            </p:nvSpPr>
            <p:spPr>
              <a:xfrm>
                <a:off x="256674" y="2043077"/>
                <a:ext cx="537028" cy="47362"/>
              </a:xfrm>
              <a:custGeom>
                <a:avLst/>
                <a:gdLst>
                  <a:gd name="connsiteX0" fmla="*/ 0 w 537029"/>
                  <a:gd name="connsiteY0" fmla="*/ 29028 h 29028"/>
                  <a:gd name="connsiteX1" fmla="*/ 537029 w 537029"/>
                  <a:gd name="connsiteY1" fmla="*/ 0 h 29028"/>
                  <a:gd name="connsiteX0" fmla="*/ 0 w 541612"/>
                  <a:gd name="connsiteY0" fmla="*/ 65696 h 65696"/>
                  <a:gd name="connsiteX1" fmla="*/ 541612 w 541612"/>
                  <a:gd name="connsiteY1" fmla="*/ 0 h 65696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37028" h="47362">
                    <a:moveTo>
                      <a:pt x="0" y="47362"/>
                    </a:moveTo>
                    <a:cubicBezTo>
                      <a:pt x="179010" y="28520"/>
                      <a:pt x="358018" y="9676"/>
                      <a:pt x="537028" y="0"/>
                    </a:cubicBezTo>
                  </a:path>
                </a:pathLst>
              </a:custGeom>
              <a:noFill/>
              <a:ln>
                <a:solidFill>
                  <a:schemeClr val="bg1">
                    <a:lumMod val="85000"/>
                  </a:schemeClr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BC644DA4-F1F6-4A1C-862F-D06234A0EBFF}"/>
                  </a:ext>
                </a:extLst>
              </p:cNvPr>
              <p:cNvSpPr/>
              <p:nvPr/>
            </p:nvSpPr>
            <p:spPr>
              <a:xfrm rot="444617">
                <a:off x="1590247" y="1997287"/>
                <a:ext cx="889961" cy="70579"/>
              </a:xfrm>
              <a:custGeom>
                <a:avLst/>
                <a:gdLst>
                  <a:gd name="connsiteX0" fmla="*/ 0 w 537029"/>
                  <a:gd name="connsiteY0" fmla="*/ 29028 h 29028"/>
                  <a:gd name="connsiteX1" fmla="*/ 537029 w 537029"/>
                  <a:gd name="connsiteY1" fmla="*/ 0 h 29028"/>
                  <a:gd name="connsiteX0" fmla="*/ 0 w 541612"/>
                  <a:gd name="connsiteY0" fmla="*/ 65696 h 65696"/>
                  <a:gd name="connsiteX1" fmla="*/ 541612 w 541612"/>
                  <a:gd name="connsiteY1" fmla="*/ 0 h 65696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859919"/>
                  <a:gd name="connsiteY0" fmla="*/ 52380 h 52380"/>
                  <a:gd name="connsiteX1" fmla="*/ 859919 w 859919"/>
                  <a:gd name="connsiteY1" fmla="*/ 0 h 52380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579 h 70579"/>
                  <a:gd name="connsiteX1" fmla="*/ 889961 w 889961"/>
                  <a:gd name="connsiteY1" fmla="*/ 425 h 70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9961" h="70579">
                    <a:moveTo>
                      <a:pt x="0" y="70579"/>
                    </a:moveTo>
                    <a:cubicBezTo>
                      <a:pt x="244232" y="20144"/>
                      <a:pt x="709177" y="-3534"/>
                      <a:pt x="889961" y="425"/>
                    </a:cubicBezTo>
                  </a:path>
                </a:pathLst>
              </a:custGeom>
              <a:noFill/>
              <a:ln>
                <a:solidFill>
                  <a:schemeClr val="bg1">
                    <a:lumMod val="85000"/>
                  </a:schemeClr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17D5EB13-A967-4625-A35E-FFC129233942}"/>
                  </a:ext>
                </a:extLst>
              </p:cNvPr>
              <p:cNvSpPr/>
              <p:nvPr/>
            </p:nvSpPr>
            <p:spPr>
              <a:xfrm rot="1179193">
                <a:off x="3297742" y="2279815"/>
                <a:ext cx="886878" cy="79116"/>
              </a:xfrm>
              <a:custGeom>
                <a:avLst/>
                <a:gdLst>
                  <a:gd name="connsiteX0" fmla="*/ 0 w 537029"/>
                  <a:gd name="connsiteY0" fmla="*/ 29028 h 29028"/>
                  <a:gd name="connsiteX1" fmla="*/ 537029 w 537029"/>
                  <a:gd name="connsiteY1" fmla="*/ 0 h 29028"/>
                  <a:gd name="connsiteX0" fmla="*/ 0 w 541612"/>
                  <a:gd name="connsiteY0" fmla="*/ 65696 h 65696"/>
                  <a:gd name="connsiteX1" fmla="*/ 541612 w 541612"/>
                  <a:gd name="connsiteY1" fmla="*/ 0 h 65696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859919"/>
                  <a:gd name="connsiteY0" fmla="*/ 52380 h 52380"/>
                  <a:gd name="connsiteX1" fmla="*/ 859919 w 859919"/>
                  <a:gd name="connsiteY1" fmla="*/ 0 h 52380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579 h 70579"/>
                  <a:gd name="connsiteX1" fmla="*/ 889961 w 889961"/>
                  <a:gd name="connsiteY1" fmla="*/ 425 h 70579"/>
                  <a:gd name="connsiteX0" fmla="*/ 0 w 886878"/>
                  <a:gd name="connsiteY0" fmla="*/ 79116 h 79116"/>
                  <a:gd name="connsiteX1" fmla="*/ 886878 w 886878"/>
                  <a:gd name="connsiteY1" fmla="*/ 328 h 7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6878" h="79116">
                    <a:moveTo>
                      <a:pt x="0" y="79116"/>
                    </a:moveTo>
                    <a:cubicBezTo>
                      <a:pt x="244232" y="28681"/>
                      <a:pt x="706094" y="-3631"/>
                      <a:pt x="886878" y="328"/>
                    </a:cubicBezTo>
                  </a:path>
                </a:pathLst>
              </a:custGeom>
              <a:noFill/>
              <a:ln>
                <a:solidFill>
                  <a:schemeClr val="bg1">
                    <a:lumMod val="85000"/>
                  </a:schemeClr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D4FDC682-7CC0-449A-A6B5-CED773B49785}"/>
                  </a:ext>
                </a:extLst>
              </p:cNvPr>
              <p:cNvSpPr/>
              <p:nvPr/>
            </p:nvSpPr>
            <p:spPr>
              <a:xfrm rot="1829130">
                <a:off x="4932868" y="2854217"/>
                <a:ext cx="886878" cy="79116"/>
              </a:xfrm>
              <a:custGeom>
                <a:avLst/>
                <a:gdLst>
                  <a:gd name="connsiteX0" fmla="*/ 0 w 537029"/>
                  <a:gd name="connsiteY0" fmla="*/ 29028 h 29028"/>
                  <a:gd name="connsiteX1" fmla="*/ 537029 w 537029"/>
                  <a:gd name="connsiteY1" fmla="*/ 0 h 29028"/>
                  <a:gd name="connsiteX0" fmla="*/ 0 w 541612"/>
                  <a:gd name="connsiteY0" fmla="*/ 65696 h 65696"/>
                  <a:gd name="connsiteX1" fmla="*/ 541612 w 541612"/>
                  <a:gd name="connsiteY1" fmla="*/ 0 h 65696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859919"/>
                  <a:gd name="connsiteY0" fmla="*/ 52380 h 52380"/>
                  <a:gd name="connsiteX1" fmla="*/ 859919 w 859919"/>
                  <a:gd name="connsiteY1" fmla="*/ 0 h 52380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579 h 70579"/>
                  <a:gd name="connsiteX1" fmla="*/ 889961 w 889961"/>
                  <a:gd name="connsiteY1" fmla="*/ 425 h 70579"/>
                  <a:gd name="connsiteX0" fmla="*/ 0 w 886878"/>
                  <a:gd name="connsiteY0" fmla="*/ 79116 h 79116"/>
                  <a:gd name="connsiteX1" fmla="*/ 886878 w 886878"/>
                  <a:gd name="connsiteY1" fmla="*/ 328 h 79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6878" h="79116">
                    <a:moveTo>
                      <a:pt x="0" y="79116"/>
                    </a:moveTo>
                    <a:cubicBezTo>
                      <a:pt x="244232" y="28681"/>
                      <a:pt x="706094" y="-3631"/>
                      <a:pt x="886878" y="328"/>
                    </a:cubicBezTo>
                  </a:path>
                </a:pathLst>
              </a:custGeom>
              <a:noFill/>
              <a:ln>
                <a:solidFill>
                  <a:schemeClr val="bg1">
                    <a:lumMod val="85000"/>
                  </a:schemeClr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B081F884-8E5F-453E-915B-9107C61998E4}"/>
                  </a:ext>
                </a:extLst>
              </p:cNvPr>
              <p:cNvSpPr/>
              <p:nvPr/>
            </p:nvSpPr>
            <p:spPr>
              <a:xfrm rot="4399584">
                <a:off x="7070212" y="4798448"/>
                <a:ext cx="725918" cy="56020"/>
              </a:xfrm>
              <a:custGeom>
                <a:avLst/>
                <a:gdLst>
                  <a:gd name="connsiteX0" fmla="*/ 0 w 537029"/>
                  <a:gd name="connsiteY0" fmla="*/ 29028 h 29028"/>
                  <a:gd name="connsiteX1" fmla="*/ 537029 w 537029"/>
                  <a:gd name="connsiteY1" fmla="*/ 0 h 29028"/>
                  <a:gd name="connsiteX0" fmla="*/ 0 w 541612"/>
                  <a:gd name="connsiteY0" fmla="*/ 65696 h 65696"/>
                  <a:gd name="connsiteX1" fmla="*/ 541612 w 541612"/>
                  <a:gd name="connsiteY1" fmla="*/ 0 h 65696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859919"/>
                  <a:gd name="connsiteY0" fmla="*/ 52380 h 52380"/>
                  <a:gd name="connsiteX1" fmla="*/ 859919 w 859919"/>
                  <a:gd name="connsiteY1" fmla="*/ 0 h 52380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579 h 70579"/>
                  <a:gd name="connsiteX1" fmla="*/ 889961 w 889961"/>
                  <a:gd name="connsiteY1" fmla="*/ 425 h 70579"/>
                  <a:gd name="connsiteX0" fmla="*/ 0 w 886878"/>
                  <a:gd name="connsiteY0" fmla="*/ 79116 h 79116"/>
                  <a:gd name="connsiteX1" fmla="*/ 886878 w 886878"/>
                  <a:gd name="connsiteY1" fmla="*/ 328 h 79116"/>
                  <a:gd name="connsiteX0" fmla="*/ 0 w 725918"/>
                  <a:gd name="connsiteY0" fmla="*/ 56302 h 56302"/>
                  <a:gd name="connsiteX1" fmla="*/ 725918 w 725918"/>
                  <a:gd name="connsiteY1" fmla="*/ 824 h 56302"/>
                  <a:gd name="connsiteX0" fmla="*/ 0 w 725918"/>
                  <a:gd name="connsiteY0" fmla="*/ 56020 h 56020"/>
                  <a:gd name="connsiteX1" fmla="*/ 725918 w 725918"/>
                  <a:gd name="connsiteY1" fmla="*/ 542 h 56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5918" h="56020">
                    <a:moveTo>
                      <a:pt x="0" y="56020"/>
                    </a:moveTo>
                    <a:cubicBezTo>
                      <a:pt x="253504" y="14262"/>
                      <a:pt x="545134" y="-3417"/>
                      <a:pt x="725918" y="542"/>
                    </a:cubicBezTo>
                  </a:path>
                </a:pathLst>
              </a:custGeom>
              <a:noFill/>
              <a:ln>
                <a:solidFill>
                  <a:schemeClr val="bg1">
                    <a:lumMod val="85000"/>
                  </a:schemeClr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95FCAEB9-A359-4555-851C-70B499157866}"/>
                  </a:ext>
                </a:extLst>
              </p:cNvPr>
              <p:cNvSpPr/>
              <p:nvPr/>
            </p:nvSpPr>
            <p:spPr>
              <a:xfrm rot="2814001">
                <a:off x="6297693" y="3713338"/>
                <a:ext cx="725918" cy="56020"/>
              </a:xfrm>
              <a:custGeom>
                <a:avLst/>
                <a:gdLst>
                  <a:gd name="connsiteX0" fmla="*/ 0 w 537029"/>
                  <a:gd name="connsiteY0" fmla="*/ 29028 h 29028"/>
                  <a:gd name="connsiteX1" fmla="*/ 537029 w 537029"/>
                  <a:gd name="connsiteY1" fmla="*/ 0 h 29028"/>
                  <a:gd name="connsiteX0" fmla="*/ 0 w 541612"/>
                  <a:gd name="connsiteY0" fmla="*/ 65696 h 65696"/>
                  <a:gd name="connsiteX1" fmla="*/ 541612 w 541612"/>
                  <a:gd name="connsiteY1" fmla="*/ 0 h 65696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537028"/>
                  <a:gd name="connsiteY0" fmla="*/ 47362 h 47362"/>
                  <a:gd name="connsiteX1" fmla="*/ 537028 w 537028"/>
                  <a:gd name="connsiteY1" fmla="*/ 0 h 47362"/>
                  <a:gd name="connsiteX0" fmla="*/ 0 w 859919"/>
                  <a:gd name="connsiteY0" fmla="*/ 52380 h 52380"/>
                  <a:gd name="connsiteX1" fmla="*/ 859919 w 859919"/>
                  <a:gd name="connsiteY1" fmla="*/ 0 h 52380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154 h 70154"/>
                  <a:gd name="connsiteX1" fmla="*/ 889961 w 889961"/>
                  <a:gd name="connsiteY1" fmla="*/ 0 h 70154"/>
                  <a:gd name="connsiteX0" fmla="*/ 0 w 889961"/>
                  <a:gd name="connsiteY0" fmla="*/ 70579 h 70579"/>
                  <a:gd name="connsiteX1" fmla="*/ 889961 w 889961"/>
                  <a:gd name="connsiteY1" fmla="*/ 425 h 70579"/>
                  <a:gd name="connsiteX0" fmla="*/ 0 w 886878"/>
                  <a:gd name="connsiteY0" fmla="*/ 79116 h 79116"/>
                  <a:gd name="connsiteX1" fmla="*/ 886878 w 886878"/>
                  <a:gd name="connsiteY1" fmla="*/ 328 h 79116"/>
                  <a:gd name="connsiteX0" fmla="*/ 0 w 725918"/>
                  <a:gd name="connsiteY0" fmla="*/ 56302 h 56302"/>
                  <a:gd name="connsiteX1" fmla="*/ 725918 w 725918"/>
                  <a:gd name="connsiteY1" fmla="*/ 824 h 56302"/>
                  <a:gd name="connsiteX0" fmla="*/ 0 w 725918"/>
                  <a:gd name="connsiteY0" fmla="*/ 56020 h 56020"/>
                  <a:gd name="connsiteX1" fmla="*/ 725918 w 725918"/>
                  <a:gd name="connsiteY1" fmla="*/ 542 h 56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5918" h="56020">
                    <a:moveTo>
                      <a:pt x="0" y="56020"/>
                    </a:moveTo>
                    <a:cubicBezTo>
                      <a:pt x="253504" y="14262"/>
                      <a:pt x="545134" y="-3417"/>
                      <a:pt x="725918" y="542"/>
                    </a:cubicBezTo>
                  </a:path>
                </a:pathLst>
              </a:custGeom>
              <a:noFill/>
              <a:ln>
                <a:solidFill>
                  <a:schemeClr val="bg1">
                    <a:lumMod val="85000"/>
                  </a:schemeClr>
                </a:solidFill>
                <a:prstDash val="dash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55314" name="Freeform: Shape 55313">
              <a:extLst>
                <a:ext uri="{FF2B5EF4-FFF2-40B4-BE49-F238E27FC236}">
                  <a16:creationId xmlns:a16="http://schemas.microsoft.com/office/drawing/2014/main" id="{92AB3DD1-73C2-4E9E-98EF-76C03FC3D951}"/>
                </a:ext>
              </a:extLst>
            </p:cNvPr>
            <p:cNvSpPr/>
            <p:nvPr/>
          </p:nvSpPr>
          <p:spPr>
            <a:xfrm>
              <a:off x="241300" y="3283026"/>
              <a:ext cx="6515100" cy="2076374"/>
            </a:xfrm>
            <a:custGeom>
              <a:avLst/>
              <a:gdLst>
                <a:gd name="connsiteX0" fmla="*/ 0 w 6515100"/>
                <a:gd name="connsiteY0" fmla="*/ 0 h 2044700"/>
                <a:gd name="connsiteX1" fmla="*/ 3962400 w 6515100"/>
                <a:gd name="connsiteY1" fmla="*/ 381000 h 2044700"/>
                <a:gd name="connsiteX2" fmla="*/ 6515100 w 6515100"/>
                <a:gd name="connsiteY2" fmla="*/ 2044700 h 2044700"/>
                <a:gd name="connsiteX0" fmla="*/ 0 w 6515100"/>
                <a:gd name="connsiteY0" fmla="*/ 0 h 2044700"/>
                <a:gd name="connsiteX1" fmla="*/ 6515100 w 6515100"/>
                <a:gd name="connsiteY1" fmla="*/ 2044700 h 2044700"/>
                <a:gd name="connsiteX0" fmla="*/ 0 w 6515100"/>
                <a:gd name="connsiteY0" fmla="*/ 48864 h 2093564"/>
                <a:gd name="connsiteX1" fmla="*/ 6515100 w 6515100"/>
                <a:gd name="connsiteY1" fmla="*/ 2093564 h 2093564"/>
                <a:gd name="connsiteX0" fmla="*/ 0 w 6515100"/>
                <a:gd name="connsiteY0" fmla="*/ 58797 h 2103497"/>
                <a:gd name="connsiteX1" fmla="*/ 6515100 w 6515100"/>
                <a:gd name="connsiteY1" fmla="*/ 2103497 h 2103497"/>
                <a:gd name="connsiteX0" fmla="*/ 0 w 6515100"/>
                <a:gd name="connsiteY0" fmla="*/ 33970 h 2078670"/>
                <a:gd name="connsiteX1" fmla="*/ 6515100 w 6515100"/>
                <a:gd name="connsiteY1" fmla="*/ 2078670 h 2078670"/>
                <a:gd name="connsiteX0" fmla="*/ 0 w 6515100"/>
                <a:gd name="connsiteY0" fmla="*/ 37623 h 2082323"/>
                <a:gd name="connsiteX1" fmla="*/ 6515100 w 6515100"/>
                <a:gd name="connsiteY1" fmla="*/ 2082323 h 2082323"/>
                <a:gd name="connsiteX0" fmla="*/ 0 w 6515100"/>
                <a:gd name="connsiteY0" fmla="*/ 31674 h 2076374"/>
                <a:gd name="connsiteX1" fmla="*/ 6515100 w 6515100"/>
                <a:gd name="connsiteY1" fmla="*/ 2076374 h 2076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15100" h="2076374">
                  <a:moveTo>
                    <a:pt x="0" y="31674"/>
                  </a:moveTo>
                  <a:cubicBezTo>
                    <a:pt x="3505200" y="-201159"/>
                    <a:pt x="5676900" y="886807"/>
                    <a:pt x="6515100" y="2076374"/>
                  </a:cubicBezTo>
                </a:path>
              </a:pathLst>
            </a:custGeom>
            <a:gradFill>
              <a:gsLst>
                <a:gs pos="18000">
                  <a:schemeClr val="bg1">
                    <a:lumMod val="95000"/>
                    <a:alpha val="38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55317" name="Graphic 55315">
              <a:extLst>
                <a:ext uri="{FF2B5EF4-FFF2-40B4-BE49-F238E27FC236}">
                  <a16:creationId xmlns:a16="http://schemas.microsoft.com/office/drawing/2014/main" id="{BCF1B037-4C2E-4EFA-9703-7B5171E9FD74}"/>
                </a:ext>
              </a:extLst>
            </p:cNvPr>
            <p:cNvGrpSpPr/>
            <p:nvPr/>
          </p:nvGrpSpPr>
          <p:grpSpPr>
            <a:xfrm>
              <a:off x="5653413" y="4143050"/>
              <a:ext cx="184754" cy="107277"/>
              <a:chOff x="3733800" y="2057400"/>
              <a:chExt cx="4724400" cy="2743200"/>
            </a:xfrm>
            <a:solidFill>
              <a:schemeClr val="accent4"/>
            </a:solidFill>
          </p:grpSpPr>
          <p:sp>
            <p:nvSpPr>
              <p:cNvPr id="55318" name="Freeform: Shape 55317">
                <a:extLst>
                  <a:ext uri="{FF2B5EF4-FFF2-40B4-BE49-F238E27FC236}">
                    <a16:creationId xmlns:a16="http://schemas.microsoft.com/office/drawing/2014/main" id="{234D9A05-37AA-4624-9098-37EA55D8764B}"/>
                  </a:ext>
                </a:extLst>
              </p:cNvPr>
              <p:cNvSpPr/>
              <p:nvPr/>
            </p:nvSpPr>
            <p:spPr>
              <a:xfrm>
                <a:off x="3733800" y="2057400"/>
                <a:ext cx="4724400" cy="2743200"/>
              </a:xfrm>
              <a:custGeom>
                <a:avLst/>
                <a:gdLst>
                  <a:gd name="connsiteX0" fmla="*/ 4495800 w 4724400"/>
                  <a:gd name="connsiteY0" fmla="*/ 0 h 2743200"/>
                  <a:gd name="connsiteX1" fmla="*/ 228600 w 4724400"/>
                  <a:gd name="connsiteY1" fmla="*/ 0 h 2743200"/>
                  <a:gd name="connsiteX2" fmla="*/ 0 w 4724400"/>
                  <a:gd name="connsiteY2" fmla="*/ 228600 h 2743200"/>
                  <a:gd name="connsiteX3" fmla="*/ 0 w 4724400"/>
                  <a:gd name="connsiteY3" fmla="*/ 2514600 h 2743200"/>
                  <a:gd name="connsiteX4" fmla="*/ 228600 w 4724400"/>
                  <a:gd name="connsiteY4" fmla="*/ 2743200 h 2743200"/>
                  <a:gd name="connsiteX5" fmla="*/ 4495800 w 4724400"/>
                  <a:gd name="connsiteY5" fmla="*/ 2743200 h 2743200"/>
                  <a:gd name="connsiteX6" fmla="*/ 4724400 w 4724400"/>
                  <a:gd name="connsiteY6" fmla="*/ 2514600 h 2743200"/>
                  <a:gd name="connsiteX7" fmla="*/ 4724400 w 4724400"/>
                  <a:gd name="connsiteY7" fmla="*/ 228600 h 2743200"/>
                  <a:gd name="connsiteX8" fmla="*/ 4495800 w 4724400"/>
                  <a:gd name="connsiteY8" fmla="*/ 0 h 2743200"/>
                  <a:gd name="connsiteX9" fmla="*/ 4572000 w 4724400"/>
                  <a:gd name="connsiteY9" fmla="*/ 2514600 h 2743200"/>
                  <a:gd name="connsiteX10" fmla="*/ 4495800 w 4724400"/>
                  <a:gd name="connsiteY10" fmla="*/ 2590800 h 2743200"/>
                  <a:gd name="connsiteX11" fmla="*/ 228600 w 4724400"/>
                  <a:gd name="connsiteY11" fmla="*/ 2590800 h 2743200"/>
                  <a:gd name="connsiteX12" fmla="*/ 152400 w 4724400"/>
                  <a:gd name="connsiteY12" fmla="*/ 2514600 h 2743200"/>
                  <a:gd name="connsiteX13" fmla="*/ 152400 w 4724400"/>
                  <a:gd name="connsiteY13" fmla="*/ 515569 h 2743200"/>
                  <a:gd name="connsiteX14" fmla="*/ 2322957 w 4724400"/>
                  <a:gd name="connsiteY14" fmla="*/ 1817903 h 2743200"/>
                  <a:gd name="connsiteX15" fmla="*/ 2401443 w 4724400"/>
                  <a:gd name="connsiteY15" fmla="*/ 1817903 h 2743200"/>
                  <a:gd name="connsiteX16" fmla="*/ 4572000 w 4724400"/>
                  <a:gd name="connsiteY16" fmla="*/ 515569 h 2743200"/>
                  <a:gd name="connsiteX17" fmla="*/ 4572000 w 4724400"/>
                  <a:gd name="connsiteY17" fmla="*/ 2514600 h 2743200"/>
                  <a:gd name="connsiteX18" fmla="*/ 4572000 w 4724400"/>
                  <a:gd name="connsiteY18" fmla="*/ 337871 h 2743200"/>
                  <a:gd name="connsiteX19" fmla="*/ 2362200 w 4724400"/>
                  <a:gd name="connsiteY19" fmla="*/ 1663751 h 2743200"/>
                  <a:gd name="connsiteX20" fmla="*/ 152400 w 4724400"/>
                  <a:gd name="connsiteY20" fmla="*/ 337871 h 2743200"/>
                  <a:gd name="connsiteX21" fmla="*/ 152400 w 4724400"/>
                  <a:gd name="connsiteY21" fmla="*/ 228600 h 2743200"/>
                  <a:gd name="connsiteX22" fmla="*/ 228600 w 4724400"/>
                  <a:gd name="connsiteY22" fmla="*/ 152400 h 2743200"/>
                  <a:gd name="connsiteX23" fmla="*/ 4495800 w 4724400"/>
                  <a:gd name="connsiteY23" fmla="*/ 152400 h 2743200"/>
                  <a:gd name="connsiteX24" fmla="*/ 4572000 w 4724400"/>
                  <a:gd name="connsiteY24" fmla="*/ 228600 h 2743200"/>
                  <a:gd name="connsiteX25" fmla="*/ 4572000 w 4724400"/>
                  <a:gd name="connsiteY25" fmla="*/ 337871 h 27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724400" h="2743200">
                    <a:moveTo>
                      <a:pt x="4495800" y="0"/>
                    </a:moveTo>
                    <a:lnTo>
                      <a:pt x="228600" y="0"/>
                    </a:lnTo>
                    <a:cubicBezTo>
                      <a:pt x="102346" y="0"/>
                      <a:pt x="0" y="102346"/>
                      <a:pt x="0" y="228600"/>
                    </a:cubicBezTo>
                    <a:lnTo>
                      <a:pt x="0" y="2514600"/>
                    </a:lnTo>
                    <a:cubicBezTo>
                      <a:pt x="0" y="2640854"/>
                      <a:pt x="102346" y="2743200"/>
                      <a:pt x="228600" y="2743200"/>
                    </a:cubicBezTo>
                    <a:lnTo>
                      <a:pt x="4495800" y="2743200"/>
                    </a:lnTo>
                    <a:cubicBezTo>
                      <a:pt x="4622054" y="2743200"/>
                      <a:pt x="4724400" y="2640854"/>
                      <a:pt x="4724400" y="2514600"/>
                    </a:cubicBezTo>
                    <a:lnTo>
                      <a:pt x="4724400" y="228600"/>
                    </a:lnTo>
                    <a:cubicBezTo>
                      <a:pt x="4724400" y="102346"/>
                      <a:pt x="4622054" y="0"/>
                      <a:pt x="4495800" y="0"/>
                    </a:cubicBezTo>
                    <a:close/>
                    <a:moveTo>
                      <a:pt x="4572000" y="2514600"/>
                    </a:moveTo>
                    <a:cubicBezTo>
                      <a:pt x="4572000" y="2556682"/>
                      <a:pt x="4537882" y="2590800"/>
                      <a:pt x="4495800" y="2590800"/>
                    </a:cubicBezTo>
                    <a:lnTo>
                      <a:pt x="228600" y="2590800"/>
                    </a:lnTo>
                    <a:cubicBezTo>
                      <a:pt x="186519" y="2590800"/>
                      <a:pt x="152400" y="2556682"/>
                      <a:pt x="152400" y="2514600"/>
                    </a:cubicBezTo>
                    <a:lnTo>
                      <a:pt x="152400" y="515569"/>
                    </a:lnTo>
                    <a:lnTo>
                      <a:pt x="2322957" y="1817903"/>
                    </a:lnTo>
                    <a:cubicBezTo>
                      <a:pt x="2347103" y="1832410"/>
                      <a:pt x="2377297" y="1832410"/>
                      <a:pt x="2401443" y="1817903"/>
                    </a:cubicBezTo>
                    <a:lnTo>
                      <a:pt x="4572000" y="515569"/>
                    </a:lnTo>
                    <a:lnTo>
                      <a:pt x="4572000" y="2514600"/>
                    </a:lnTo>
                    <a:close/>
                    <a:moveTo>
                      <a:pt x="4572000" y="337871"/>
                    </a:moveTo>
                    <a:lnTo>
                      <a:pt x="2362200" y="1663751"/>
                    </a:lnTo>
                    <a:lnTo>
                      <a:pt x="152400" y="337871"/>
                    </a:lnTo>
                    <a:lnTo>
                      <a:pt x="152400" y="228600"/>
                    </a:lnTo>
                    <a:cubicBezTo>
                      <a:pt x="152400" y="186519"/>
                      <a:pt x="186519" y="152400"/>
                      <a:pt x="228600" y="152400"/>
                    </a:cubicBezTo>
                    <a:lnTo>
                      <a:pt x="4495800" y="152400"/>
                    </a:lnTo>
                    <a:cubicBezTo>
                      <a:pt x="4537882" y="152400"/>
                      <a:pt x="4572000" y="186519"/>
                      <a:pt x="4572000" y="228600"/>
                    </a:cubicBezTo>
                    <a:lnTo>
                      <a:pt x="4572000" y="33787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19" name="Freeform: Shape 55318">
                <a:extLst>
                  <a:ext uri="{FF2B5EF4-FFF2-40B4-BE49-F238E27FC236}">
                    <a16:creationId xmlns:a16="http://schemas.microsoft.com/office/drawing/2014/main" id="{6A3FEDA0-5401-4DCC-B882-2E1430A22BE7}"/>
                  </a:ext>
                </a:extLst>
              </p:cNvPr>
              <p:cNvSpPr/>
              <p:nvPr/>
            </p:nvSpPr>
            <p:spPr>
              <a:xfrm>
                <a:off x="7772400" y="3962400"/>
                <a:ext cx="304800" cy="457200"/>
              </a:xfrm>
              <a:custGeom>
                <a:avLst/>
                <a:gdLst>
                  <a:gd name="connsiteX0" fmla="*/ 76200 w 304800"/>
                  <a:gd name="connsiteY0" fmla="*/ 457200 h 457200"/>
                  <a:gd name="connsiteX1" fmla="*/ 228600 w 304800"/>
                  <a:gd name="connsiteY1" fmla="*/ 457200 h 457200"/>
                  <a:gd name="connsiteX2" fmla="*/ 304800 w 304800"/>
                  <a:gd name="connsiteY2" fmla="*/ 381000 h 457200"/>
                  <a:gd name="connsiteX3" fmla="*/ 304800 w 304800"/>
                  <a:gd name="connsiteY3" fmla="*/ 76200 h 457200"/>
                  <a:gd name="connsiteX4" fmla="*/ 228600 w 304800"/>
                  <a:gd name="connsiteY4" fmla="*/ 0 h 457200"/>
                  <a:gd name="connsiteX5" fmla="*/ 152400 w 304800"/>
                  <a:gd name="connsiteY5" fmla="*/ 76200 h 457200"/>
                  <a:gd name="connsiteX6" fmla="*/ 152400 w 304800"/>
                  <a:gd name="connsiteY6" fmla="*/ 304800 h 457200"/>
                  <a:gd name="connsiteX7" fmla="*/ 76200 w 304800"/>
                  <a:gd name="connsiteY7" fmla="*/ 304800 h 457200"/>
                  <a:gd name="connsiteX8" fmla="*/ 0 w 304800"/>
                  <a:gd name="connsiteY8" fmla="*/ 381000 h 457200"/>
                  <a:gd name="connsiteX9" fmla="*/ 76200 w 304800"/>
                  <a:gd name="connsiteY9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800" h="457200">
                    <a:moveTo>
                      <a:pt x="76200" y="457200"/>
                    </a:moveTo>
                    <a:lnTo>
                      <a:pt x="228600" y="457200"/>
                    </a:lnTo>
                    <a:cubicBezTo>
                      <a:pt x="270681" y="457200"/>
                      <a:pt x="304800" y="423081"/>
                      <a:pt x="304800" y="381000"/>
                    </a:cubicBezTo>
                    <a:lnTo>
                      <a:pt x="304800" y="76200"/>
                    </a:lnTo>
                    <a:cubicBezTo>
                      <a:pt x="304800" y="34119"/>
                      <a:pt x="270681" y="0"/>
                      <a:pt x="228600" y="0"/>
                    </a:cubicBezTo>
                    <a:cubicBezTo>
                      <a:pt x="186519" y="0"/>
                      <a:pt x="152400" y="34119"/>
                      <a:pt x="152400" y="76200"/>
                    </a:cubicBezTo>
                    <a:lnTo>
                      <a:pt x="152400" y="304800"/>
                    </a:lnTo>
                    <a:lnTo>
                      <a:pt x="76200" y="304800"/>
                    </a:lnTo>
                    <a:cubicBezTo>
                      <a:pt x="34119" y="304800"/>
                      <a:pt x="0" y="338919"/>
                      <a:pt x="0" y="381000"/>
                    </a:cubicBezTo>
                    <a:cubicBezTo>
                      <a:pt x="0" y="423081"/>
                      <a:pt x="34119" y="457200"/>
                      <a:pt x="76200" y="4572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20" name="Freeform: Shape 55319">
                <a:extLst>
                  <a:ext uri="{FF2B5EF4-FFF2-40B4-BE49-F238E27FC236}">
                    <a16:creationId xmlns:a16="http://schemas.microsoft.com/office/drawing/2014/main" id="{B5B7EBA5-671C-4F16-83C2-09124495BC77}"/>
                  </a:ext>
                </a:extLst>
              </p:cNvPr>
              <p:cNvSpPr/>
              <p:nvPr/>
            </p:nvSpPr>
            <p:spPr>
              <a:xfrm>
                <a:off x="7315200" y="4267200"/>
                <a:ext cx="304800" cy="152400"/>
              </a:xfrm>
              <a:custGeom>
                <a:avLst/>
                <a:gdLst>
                  <a:gd name="connsiteX0" fmla="*/ 76200 w 304800"/>
                  <a:gd name="connsiteY0" fmla="*/ 152400 h 152400"/>
                  <a:gd name="connsiteX1" fmla="*/ 228600 w 304800"/>
                  <a:gd name="connsiteY1" fmla="*/ 152400 h 152400"/>
                  <a:gd name="connsiteX2" fmla="*/ 304800 w 304800"/>
                  <a:gd name="connsiteY2" fmla="*/ 76200 h 152400"/>
                  <a:gd name="connsiteX3" fmla="*/ 228600 w 304800"/>
                  <a:gd name="connsiteY3" fmla="*/ 0 h 152400"/>
                  <a:gd name="connsiteX4" fmla="*/ 76200 w 304800"/>
                  <a:gd name="connsiteY4" fmla="*/ 0 h 152400"/>
                  <a:gd name="connsiteX5" fmla="*/ 0 w 304800"/>
                  <a:gd name="connsiteY5" fmla="*/ 76200 h 152400"/>
                  <a:gd name="connsiteX6" fmla="*/ 76200 w 304800"/>
                  <a:gd name="connsiteY6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800" h="152400">
                    <a:moveTo>
                      <a:pt x="76200" y="152400"/>
                    </a:moveTo>
                    <a:lnTo>
                      <a:pt x="228600" y="152400"/>
                    </a:lnTo>
                    <a:cubicBezTo>
                      <a:pt x="270681" y="152400"/>
                      <a:pt x="304800" y="118281"/>
                      <a:pt x="304800" y="76200"/>
                    </a:cubicBezTo>
                    <a:cubicBezTo>
                      <a:pt x="304800" y="34119"/>
                      <a:pt x="270681" y="0"/>
                      <a:pt x="228600" y="0"/>
                    </a:cubicBezTo>
                    <a:lnTo>
                      <a:pt x="76200" y="0"/>
                    </a:lnTo>
                    <a:cubicBezTo>
                      <a:pt x="34119" y="0"/>
                      <a:pt x="0" y="34119"/>
                      <a:pt x="0" y="76200"/>
                    </a:cubicBezTo>
                    <a:cubicBezTo>
                      <a:pt x="0" y="118281"/>
                      <a:pt x="34119" y="152400"/>
                      <a:pt x="76200" y="1524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182" name="Graphic 55315">
              <a:extLst>
                <a:ext uri="{FF2B5EF4-FFF2-40B4-BE49-F238E27FC236}">
                  <a16:creationId xmlns:a16="http://schemas.microsoft.com/office/drawing/2014/main" id="{82E802C8-A55C-4A58-A051-795441CBC9D8}"/>
                </a:ext>
              </a:extLst>
            </p:cNvPr>
            <p:cNvGrpSpPr/>
            <p:nvPr/>
          </p:nvGrpSpPr>
          <p:grpSpPr>
            <a:xfrm>
              <a:off x="4426240" y="3661991"/>
              <a:ext cx="184754" cy="107277"/>
              <a:chOff x="3733800" y="2057400"/>
              <a:chExt cx="4724400" cy="2743200"/>
            </a:xfrm>
            <a:solidFill>
              <a:schemeClr val="accent4"/>
            </a:solidFill>
          </p:grpSpPr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110B34A3-715C-4F9B-A34D-60D536764E51}"/>
                  </a:ext>
                </a:extLst>
              </p:cNvPr>
              <p:cNvSpPr/>
              <p:nvPr/>
            </p:nvSpPr>
            <p:spPr>
              <a:xfrm>
                <a:off x="3733800" y="2057400"/>
                <a:ext cx="4724400" cy="2743200"/>
              </a:xfrm>
              <a:custGeom>
                <a:avLst/>
                <a:gdLst>
                  <a:gd name="connsiteX0" fmla="*/ 4495800 w 4724400"/>
                  <a:gd name="connsiteY0" fmla="*/ 0 h 2743200"/>
                  <a:gd name="connsiteX1" fmla="*/ 228600 w 4724400"/>
                  <a:gd name="connsiteY1" fmla="*/ 0 h 2743200"/>
                  <a:gd name="connsiteX2" fmla="*/ 0 w 4724400"/>
                  <a:gd name="connsiteY2" fmla="*/ 228600 h 2743200"/>
                  <a:gd name="connsiteX3" fmla="*/ 0 w 4724400"/>
                  <a:gd name="connsiteY3" fmla="*/ 2514600 h 2743200"/>
                  <a:gd name="connsiteX4" fmla="*/ 228600 w 4724400"/>
                  <a:gd name="connsiteY4" fmla="*/ 2743200 h 2743200"/>
                  <a:gd name="connsiteX5" fmla="*/ 4495800 w 4724400"/>
                  <a:gd name="connsiteY5" fmla="*/ 2743200 h 2743200"/>
                  <a:gd name="connsiteX6" fmla="*/ 4724400 w 4724400"/>
                  <a:gd name="connsiteY6" fmla="*/ 2514600 h 2743200"/>
                  <a:gd name="connsiteX7" fmla="*/ 4724400 w 4724400"/>
                  <a:gd name="connsiteY7" fmla="*/ 228600 h 2743200"/>
                  <a:gd name="connsiteX8" fmla="*/ 4495800 w 4724400"/>
                  <a:gd name="connsiteY8" fmla="*/ 0 h 2743200"/>
                  <a:gd name="connsiteX9" fmla="*/ 4572000 w 4724400"/>
                  <a:gd name="connsiteY9" fmla="*/ 2514600 h 2743200"/>
                  <a:gd name="connsiteX10" fmla="*/ 4495800 w 4724400"/>
                  <a:gd name="connsiteY10" fmla="*/ 2590800 h 2743200"/>
                  <a:gd name="connsiteX11" fmla="*/ 228600 w 4724400"/>
                  <a:gd name="connsiteY11" fmla="*/ 2590800 h 2743200"/>
                  <a:gd name="connsiteX12" fmla="*/ 152400 w 4724400"/>
                  <a:gd name="connsiteY12" fmla="*/ 2514600 h 2743200"/>
                  <a:gd name="connsiteX13" fmla="*/ 152400 w 4724400"/>
                  <a:gd name="connsiteY13" fmla="*/ 515569 h 2743200"/>
                  <a:gd name="connsiteX14" fmla="*/ 2322957 w 4724400"/>
                  <a:gd name="connsiteY14" fmla="*/ 1817903 h 2743200"/>
                  <a:gd name="connsiteX15" fmla="*/ 2401443 w 4724400"/>
                  <a:gd name="connsiteY15" fmla="*/ 1817903 h 2743200"/>
                  <a:gd name="connsiteX16" fmla="*/ 4572000 w 4724400"/>
                  <a:gd name="connsiteY16" fmla="*/ 515569 h 2743200"/>
                  <a:gd name="connsiteX17" fmla="*/ 4572000 w 4724400"/>
                  <a:gd name="connsiteY17" fmla="*/ 2514600 h 2743200"/>
                  <a:gd name="connsiteX18" fmla="*/ 4572000 w 4724400"/>
                  <a:gd name="connsiteY18" fmla="*/ 337871 h 2743200"/>
                  <a:gd name="connsiteX19" fmla="*/ 2362200 w 4724400"/>
                  <a:gd name="connsiteY19" fmla="*/ 1663751 h 2743200"/>
                  <a:gd name="connsiteX20" fmla="*/ 152400 w 4724400"/>
                  <a:gd name="connsiteY20" fmla="*/ 337871 h 2743200"/>
                  <a:gd name="connsiteX21" fmla="*/ 152400 w 4724400"/>
                  <a:gd name="connsiteY21" fmla="*/ 228600 h 2743200"/>
                  <a:gd name="connsiteX22" fmla="*/ 228600 w 4724400"/>
                  <a:gd name="connsiteY22" fmla="*/ 152400 h 2743200"/>
                  <a:gd name="connsiteX23" fmla="*/ 4495800 w 4724400"/>
                  <a:gd name="connsiteY23" fmla="*/ 152400 h 2743200"/>
                  <a:gd name="connsiteX24" fmla="*/ 4572000 w 4724400"/>
                  <a:gd name="connsiteY24" fmla="*/ 228600 h 2743200"/>
                  <a:gd name="connsiteX25" fmla="*/ 4572000 w 4724400"/>
                  <a:gd name="connsiteY25" fmla="*/ 337871 h 27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724400" h="2743200">
                    <a:moveTo>
                      <a:pt x="4495800" y="0"/>
                    </a:moveTo>
                    <a:lnTo>
                      <a:pt x="228600" y="0"/>
                    </a:lnTo>
                    <a:cubicBezTo>
                      <a:pt x="102346" y="0"/>
                      <a:pt x="0" y="102346"/>
                      <a:pt x="0" y="228600"/>
                    </a:cubicBezTo>
                    <a:lnTo>
                      <a:pt x="0" y="2514600"/>
                    </a:lnTo>
                    <a:cubicBezTo>
                      <a:pt x="0" y="2640854"/>
                      <a:pt x="102346" y="2743200"/>
                      <a:pt x="228600" y="2743200"/>
                    </a:cubicBezTo>
                    <a:lnTo>
                      <a:pt x="4495800" y="2743200"/>
                    </a:lnTo>
                    <a:cubicBezTo>
                      <a:pt x="4622054" y="2743200"/>
                      <a:pt x="4724400" y="2640854"/>
                      <a:pt x="4724400" y="2514600"/>
                    </a:cubicBezTo>
                    <a:lnTo>
                      <a:pt x="4724400" y="228600"/>
                    </a:lnTo>
                    <a:cubicBezTo>
                      <a:pt x="4724400" y="102346"/>
                      <a:pt x="4622054" y="0"/>
                      <a:pt x="4495800" y="0"/>
                    </a:cubicBezTo>
                    <a:close/>
                    <a:moveTo>
                      <a:pt x="4572000" y="2514600"/>
                    </a:moveTo>
                    <a:cubicBezTo>
                      <a:pt x="4572000" y="2556682"/>
                      <a:pt x="4537882" y="2590800"/>
                      <a:pt x="4495800" y="2590800"/>
                    </a:cubicBezTo>
                    <a:lnTo>
                      <a:pt x="228600" y="2590800"/>
                    </a:lnTo>
                    <a:cubicBezTo>
                      <a:pt x="186519" y="2590800"/>
                      <a:pt x="152400" y="2556682"/>
                      <a:pt x="152400" y="2514600"/>
                    </a:cubicBezTo>
                    <a:lnTo>
                      <a:pt x="152400" y="515569"/>
                    </a:lnTo>
                    <a:lnTo>
                      <a:pt x="2322957" y="1817903"/>
                    </a:lnTo>
                    <a:cubicBezTo>
                      <a:pt x="2347103" y="1832410"/>
                      <a:pt x="2377297" y="1832410"/>
                      <a:pt x="2401443" y="1817903"/>
                    </a:cubicBezTo>
                    <a:lnTo>
                      <a:pt x="4572000" y="515569"/>
                    </a:lnTo>
                    <a:lnTo>
                      <a:pt x="4572000" y="2514600"/>
                    </a:lnTo>
                    <a:close/>
                    <a:moveTo>
                      <a:pt x="4572000" y="337871"/>
                    </a:moveTo>
                    <a:lnTo>
                      <a:pt x="2362200" y="1663751"/>
                    </a:lnTo>
                    <a:lnTo>
                      <a:pt x="152400" y="337871"/>
                    </a:lnTo>
                    <a:lnTo>
                      <a:pt x="152400" y="228600"/>
                    </a:lnTo>
                    <a:cubicBezTo>
                      <a:pt x="152400" y="186519"/>
                      <a:pt x="186519" y="152400"/>
                      <a:pt x="228600" y="152400"/>
                    </a:cubicBezTo>
                    <a:lnTo>
                      <a:pt x="4495800" y="152400"/>
                    </a:lnTo>
                    <a:cubicBezTo>
                      <a:pt x="4537882" y="152400"/>
                      <a:pt x="4572000" y="186519"/>
                      <a:pt x="4572000" y="228600"/>
                    </a:cubicBezTo>
                    <a:lnTo>
                      <a:pt x="4572000" y="33787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97EF9DE0-1B1F-4F5D-8FF6-DC9C9AFF6E2F}"/>
                  </a:ext>
                </a:extLst>
              </p:cNvPr>
              <p:cNvSpPr/>
              <p:nvPr/>
            </p:nvSpPr>
            <p:spPr>
              <a:xfrm>
                <a:off x="7772400" y="3962400"/>
                <a:ext cx="304800" cy="457200"/>
              </a:xfrm>
              <a:custGeom>
                <a:avLst/>
                <a:gdLst>
                  <a:gd name="connsiteX0" fmla="*/ 76200 w 304800"/>
                  <a:gd name="connsiteY0" fmla="*/ 457200 h 457200"/>
                  <a:gd name="connsiteX1" fmla="*/ 228600 w 304800"/>
                  <a:gd name="connsiteY1" fmla="*/ 457200 h 457200"/>
                  <a:gd name="connsiteX2" fmla="*/ 304800 w 304800"/>
                  <a:gd name="connsiteY2" fmla="*/ 381000 h 457200"/>
                  <a:gd name="connsiteX3" fmla="*/ 304800 w 304800"/>
                  <a:gd name="connsiteY3" fmla="*/ 76200 h 457200"/>
                  <a:gd name="connsiteX4" fmla="*/ 228600 w 304800"/>
                  <a:gd name="connsiteY4" fmla="*/ 0 h 457200"/>
                  <a:gd name="connsiteX5" fmla="*/ 152400 w 304800"/>
                  <a:gd name="connsiteY5" fmla="*/ 76200 h 457200"/>
                  <a:gd name="connsiteX6" fmla="*/ 152400 w 304800"/>
                  <a:gd name="connsiteY6" fmla="*/ 304800 h 457200"/>
                  <a:gd name="connsiteX7" fmla="*/ 76200 w 304800"/>
                  <a:gd name="connsiteY7" fmla="*/ 304800 h 457200"/>
                  <a:gd name="connsiteX8" fmla="*/ 0 w 304800"/>
                  <a:gd name="connsiteY8" fmla="*/ 381000 h 457200"/>
                  <a:gd name="connsiteX9" fmla="*/ 76200 w 304800"/>
                  <a:gd name="connsiteY9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800" h="457200">
                    <a:moveTo>
                      <a:pt x="76200" y="457200"/>
                    </a:moveTo>
                    <a:lnTo>
                      <a:pt x="228600" y="457200"/>
                    </a:lnTo>
                    <a:cubicBezTo>
                      <a:pt x="270681" y="457200"/>
                      <a:pt x="304800" y="423081"/>
                      <a:pt x="304800" y="381000"/>
                    </a:cubicBezTo>
                    <a:lnTo>
                      <a:pt x="304800" y="76200"/>
                    </a:lnTo>
                    <a:cubicBezTo>
                      <a:pt x="304800" y="34119"/>
                      <a:pt x="270681" y="0"/>
                      <a:pt x="228600" y="0"/>
                    </a:cubicBezTo>
                    <a:cubicBezTo>
                      <a:pt x="186519" y="0"/>
                      <a:pt x="152400" y="34119"/>
                      <a:pt x="152400" y="76200"/>
                    </a:cubicBezTo>
                    <a:lnTo>
                      <a:pt x="152400" y="304800"/>
                    </a:lnTo>
                    <a:lnTo>
                      <a:pt x="76200" y="304800"/>
                    </a:lnTo>
                    <a:cubicBezTo>
                      <a:pt x="34119" y="304800"/>
                      <a:pt x="0" y="338919"/>
                      <a:pt x="0" y="381000"/>
                    </a:cubicBezTo>
                    <a:cubicBezTo>
                      <a:pt x="0" y="423081"/>
                      <a:pt x="34119" y="457200"/>
                      <a:pt x="76200" y="4572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BA068DA8-1D00-49D4-B4EA-6653C55FEE4C}"/>
                  </a:ext>
                </a:extLst>
              </p:cNvPr>
              <p:cNvSpPr/>
              <p:nvPr/>
            </p:nvSpPr>
            <p:spPr>
              <a:xfrm>
                <a:off x="7315200" y="4267200"/>
                <a:ext cx="304800" cy="152400"/>
              </a:xfrm>
              <a:custGeom>
                <a:avLst/>
                <a:gdLst>
                  <a:gd name="connsiteX0" fmla="*/ 76200 w 304800"/>
                  <a:gd name="connsiteY0" fmla="*/ 152400 h 152400"/>
                  <a:gd name="connsiteX1" fmla="*/ 228600 w 304800"/>
                  <a:gd name="connsiteY1" fmla="*/ 152400 h 152400"/>
                  <a:gd name="connsiteX2" fmla="*/ 304800 w 304800"/>
                  <a:gd name="connsiteY2" fmla="*/ 76200 h 152400"/>
                  <a:gd name="connsiteX3" fmla="*/ 228600 w 304800"/>
                  <a:gd name="connsiteY3" fmla="*/ 0 h 152400"/>
                  <a:gd name="connsiteX4" fmla="*/ 76200 w 304800"/>
                  <a:gd name="connsiteY4" fmla="*/ 0 h 152400"/>
                  <a:gd name="connsiteX5" fmla="*/ 0 w 304800"/>
                  <a:gd name="connsiteY5" fmla="*/ 76200 h 152400"/>
                  <a:gd name="connsiteX6" fmla="*/ 76200 w 304800"/>
                  <a:gd name="connsiteY6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800" h="152400">
                    <a:moveTo>
                      <a:pt x="76200" y="152400"/>
                    </a:moveTo>
                    <a:lnTo>
                      <a:pt x="228600" y="152400"/>
                    </a:lnTo>
                    <a:cubicBezTo>
                      <a:pt x="270681" y="152400"/>
                      <a:pt x="304800" y="118281"/>
                      <a:pt x="304800" y="76200"/>
                    </a:cubicBezTo>
                    <a:cubicBezTo>
                      <a:pt x="304800" y="34119"/>
                      <a:pt x="270681" y="0"/>
                      <a:pt x="228600" y="0"/>
                    </a:cubicBezTo>
                    <a:lnTo>
                      <a:pt x="76200" y="0"/>
                    </a:lnTo>
                    <a:cubicBezTo>
                      <a:pt x="34119" y="0"/>
                      <a:pt x="0" y="34119"/>
                      <a:pt x="0" y="76200"/>
                    </a:cubicBezTo>
                    <a:cubicBezTo>
                      <a:pt x="0" y="118281"/>
                      <a:pt x="34119" y="152400"/>
                      <a:pt x="76200" y="1524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55323" name="Graphic 55321">
              <a:extLst>
                <a:ext uri="{FF2B5EF4-FFF2-40B4-BE49-F238E27FC236}">
                  <a16:creationId xmlns:a16="http://schemas.microsoft.com/office/drawing/2014/main" id="{CC27FC4B-7549-40DD-AE16-3D2D02F89EAF}"/>
                </a:ext>
              </a:extLst>
            </p:cNvPr>
            <p:cNvGrpSpPr/>
            <p:nvPr/>
          </p:nvGrpSpPr>
          <p:grpSpPr>
            <a:xfrm>
              <a:off x="3672997" y="3238137"/>
              <a:ext cx="326789" cy="327285"/>
              <a:chOff x="3661295" y="990600"/>
              <a:chExt cx="4869408" cy="4876800"/>
            </a:xfrm>
            <a:solidFill>
              <a:schemeClr val="accent4"/>
            </a:solidFill>
          </p:grpSpPr>
          <p:sp>
            <p:nvSpPr>
              <p:cNvPr id="55324" name="Freeform: Shape 55323">
                <a:extLst>
                  <a:ext uri="{FF2B5EF4-FFF2-40B4-BE49-F238E27FC236}">
                    <a16:creationId xmlns:a16="http://schemas.microsoft.com/office/drawing/2014/main" id="{32BA4E8F-8FBA-4693-B04D-38DBDE46253F}"/>
                  </a:ext>
                </a:extLst>
              </p:cNvPr>
              <p:cNvSpPr/>
              <p:nvPr/>
            </p:nvSpPr>
            <p:spPr>
              <a:xfrm>
                <a:off x="4555185" y="2702609"/>
                <a:ext cx="487865" cy="209337"/>
              </a:xfrm>
              <a:custGeom>
                <a:avLst/>
                <a:gdLst>
                  <a:gd name="connsiteX0" fmla="*/ 66782 w 487865"/>
                  <a:gd name="connsiteY0" fmla="*/ 161244 h 209337"/>
                  <a:gd name="connsiteX1" fmla="*/ 397938 w 487865"/>
                  <a:gd name="connsiteY1" fmla="*/ 208869 h 209337"/>
                  <a:gd name="connsiteX2" fmla="*/ 487397 w 487865"/>
                  <a:gd name="connsiteY2" fmla="*/ 136717 h 209337"/>
                  <a:gd name="connsiteX3" fmla="*/ 415245 w 487865"/>
                  <a:gd name="connsiteY3" fmla="*/ 47258 h 209337"/>
                  <a:gd name="connsiteX4" fmla="*/ 96157 w 487865"/>
                  <a:gd name="connsiteY4" fmla="*/ 1376 h 209337"/>
                  <a:gd name="connsiteX5" fmla="*/ 19433 w 487865"/>
                  <a:gd name="connsiteY5" fmla="*/ 28532 h 209337"/>
                  <a:gd name="connsiteX6" fmla="*/ 4727 w 487865"/>
                  <a:gd name="connsiteY6" fmla="*/ 108580 h 209337"/>
                  <a:gd name="connsiteX7" fmla="*/ 66782 w 487865"/>
                  <a:gd name="connsiteY7" fmla="*/ 161244 h 20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865" h="209337">
                    <a:moveTo>
                      <a:pt x="66782" y="161244"/>
                    </a:moveTo>
                    <a:cubicBezTo>
                      <a:pt x="171833" y="180532"/>
                      <a:pt x="283238" y="196562"/>
                      <a:pt x="397938" y="208869"/>
                    </a:cubicBezTo>
                    <a:cubicBezTo>
                      <a:pt x="442562" y="213650"/>
                      <a:pt x="482615" y="181341"/>
                      <a:pt x="487397" y="136717"/>
                    </a:cubicBezTo>
                    <a:cubicBezTo>
                      <a:pt x="492178" y="92092"/>
                      <a:pt x="459869" y="52039"/>
                      <a:pt x="415245" y="47258"/>
                    </a:cubicBezTo>
                    <a:cubicBezTo>
                      <a:pt x="304593" y="35352"/>
                      <a:pt x="197237" y="19950"/>
                      <a:pt x="96157" y="1376"/>
                    </a:cubicBezTo>
                    <a:cubicBezTo>
                      <a:pt x="67563" y="-3948"/>
                      <a:pt x="38302" y="6405"/>
                      <a:pt x="19433" y="28532"/>
                    </a:cubicBezTo>
                    <a:cubicBezTo>
                      <a:pt x="564" y="50658"/>
                      <a:pt x="-5046" y="81186"/>
                      <a:pt x="4727" y="108580"/>
                    </a:cubicBezTo>
                    <a:cubicBezTo>
                      <a:pt x="14499" y="135974"/>
                      <a:pt x="38160" y="156062"/>
                      <a:pt x="66782" y="1612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25" name="Freeform: Shape 55324">
                <a:extLst>
                  <a:ext uri="{FF2B5EF4-FFF2-40B4-BE49-F238E27FC236}">
                    <a16:creationId xmlns:a16="http://schemas.microsoft.com/office/drawing/2014/main" id="{CC326255-8555-459B-B93F-BA8BE3C29853}"/>
                  </a:ext>
                </a:extLst>
              </p:cNvPr>
              <p:cNvSpPr/>
              <p:nvPr/>
            </p:nvSpPr>
            <p:spPr>
              <a:xfrm>
                <a:off x="4555185" y="3352843"/>
                <a:ext cx="487865" cy="209337"/>
              </a:xfrm>
              <a:custGeom>
                <a:avLst/>
                <a:gdLst>
                  <a:gd name="connsiteX0" fmla="*/ 66782 w 487865"/>
                  <a:gd name="connsiteY0" fmla="*/ 161244 h 209337"/>
                  <a:gd name="connsiteX1" fmla="*/ 397938 w 487865"/>
                  <a:gd name="connsiteY1" fmla="*/ 208869 h 209337"/>
                  <a:gd name="connsiteX2" fmla="*/ 487397 w 487865"/>
                  <a:gd name="connsiteY2" fmla="*/ 136717 h 209337"/>
                  <a:gd name="connsiteX3" fmla="*/ 415245 w 487865"/>
                  <a:gd name="connsiteY3" fmla="*/ 47258 h 209337"/>
                  <a:gd name="connsiteX4" fmla="*/ 96157 w 487865"/>
                  <a:gd name="connsiteY4" fmla="*/ 1376 h 209337"/>
                  <a:gd name="connsiteX5" fmla="*/ 19433 w 487865"/>
                  <a:gd name="connsiteY5" fmla="*/ 28532 h 209337"/>
                  <a:gd name="connsiteX6" fmla="*/ 4727 w 487865"/>
                  <a:gd name="connsiteY6" fmla="*/ 108580 h 209337"/>
                  <a:gd name="connsiteX7" fmla="*/ 66782 w 487865"/>
                  <a:gd name="connsiteY7" fmla="*/ 161244 h 20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865" h="209337">
                    <a:moveTo>
                      <a:pt x="66782" y="161244"/>
                    </a:moveTo>
                    <a:cubicBezTo>
                      <a:pt x="171833" y="180532"/>
                      <a:pt x="283238" y="196562"/>
                      <a:pt x="397938" y="208869"/>
                    </a:cubicBezTo>
                    <a:cubicBezTo>
                      <a:pt x="442562" y="213650"/>
                      <a:pt x="482615" y="181341"/>
                      <a:pt x="487397" y="136717"/>
                    </a:cubicBezTo>
                    <a:cubicBezTo>
                      <a:pt x="492178" y="92092"/>
                      <a:pt x="459869" y="52039"/>
                      <a:pt x="415245" y="47258"/>
                    </a:cubicBezTo>
                    <a:cubicBezTo>
                      <a:pt x="304593" y="35352"/>
                      <a:pt x="197237" y="19950"/>
                      <a:pt x="96157" y="1376"/>
                    </a:cubicBezTo>
                    <a:cubicBezTo>
                      <a:pt x="67563" y="-3949"/>
                      <a:pt x="38302" y="6405"/>
                      <a:pt x="19433" y="28532"/>
                    </a:cubicBezTo>
                    <a:cubicBezTo>
                      <a:pt x="564" y="50658"/>
                      <a:pt x="-5046" y="81186"/>
                      <a:pt x="4727" y="108580"/>
                    </a:cubicBezTo>
                    <a:cubicBezTo>
                      <a:pt x="14499" y="135983"/>
                      <a:pt x="38160" y="156062"/>
                      <a:pt x="66782" y="1612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26" name="Freeform: Shape 55325">
                <a:extLst>
                  <a:ext uri="{FF2B5EF4-FFF2-40B4-BE49-F238E27FC236}">
                    <a16:creationId xmlns:a16="http://schemas.microsoft.com/office/drawing/2014/main" id="{744F2799-CBE8-4734-B69B-6A49CEBEF307}"/>
                  </a:ext>
                </a:extLst>
              </p:cNvPr>
              <p:cNvSpPr/>
              <p:nvPr/>
            </p:nvSpPr>
            <p:spPr>
              <a:xfrm>
                <a:off x="4555185" y="4003086"/>
                <a:ext cx="487853" cy="209335"/>
              </a:xfrm>
              <a:custGeom>
                <a:avLst/>
                <a:gdLst>
                  <a:gd name="connsiteX0" fmla="*/ 487739 w 487853"/>
                  <a:gd name="connsiteY0" fmla="*/ 132345 h 209335"/>
                  <a:gd name="connsiteX1" fmla="*/ 415245 w 487853"/>
                  <a:gd name="connsiteY1" fmla="*/ 47258 h 209335"/>
                  <a:gd name="connsiteX2" fmla="*/ 96157 w 487853"/>
                  <a:gd name="connsiteY2" fmla="*/ 1376 h 209335"/>
                  <a:gd name="connsiteX3" fmla="*/ 19433 w 487853"/>
                  <a:gd name="connsiteY3" fmla="*/ 28532 h 209335"/>
                  <a:gd name="connsiteX4" fmla="*/ 4727 w 487853"/>
                  <a:gd name="connsiteY4" fmla="*/ 108580 h 209335"/>
                  <a:gd name="connsiteX5" fmla="*/ 66782 w 487853"/>
                  <a:gd name="connsiteY5" fmla="*/ 161234 h 209335"/>
                  <a:gd name="connsiteX6" fmla="*/ 397938 w 487853"/>
                  <a:gd name="connsiteY6" fmla="*/ 208859 h 209335"/>
                  <a:gd name="connsiteX7" fmla="*/ 406710 w 487853"/>
                  <a:gd name="connsiteY7" fmla="*/ 209335 h 209335"/>
                  <a:gd name="connsiteX8" fmla="*/ 487739 w 487853"/>
                  <a:gd name="connsiteY8" fmla="*/ 132345 h 209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7853" h="209335">
                    <a:moveTo>
                      <a:pt x="487739" y="132345"/>
                    </a:moveTo>
                    <a:cubicBezTo>
                      <a:pt x="490007" y="89225"/>
                      <a:pt x="458174" y="51868"/>
                      <a:pt x="415245" y="47258"/>
                    </a:cubicBezTo>
                    <a:cubicBezTo>
                      <a:pt x="304593" y="35352"/>
                      <a:pt x="197237" y="19950"/>
                      <a:pt x="96157" y="1376"/>
                    </a:cubicBezTo>
                    <a:cubicBezTo>
                      <a:pt x="67563" y="-3948"/>
                      <a:pt x="38312" y="6405"/>
                      <a:pt x="19433" y="28532"/>
                    </a:cubicBezTo>
                    <a:cubicBezTo>
                      <a:pt x="564" y="50658"/>
                      <a:pt x="-5046" y="81186"/>
                      <a:pt x="4727" y="108580"/>
                    </a:cubicBezTo>
                    <a:cubicBezTo>
                      <a:pt x="14499" y="135974"/>
                      <a:pt x="38169" y="156053"/>
                      <a:pt x="66782" y="161234"/>
                    </a:cubicBezTo>
                    <a:cubicBezTo>
                      <a:pt x="171833" y="180522"/>
                      <a:pt x="283238" y="196553"/>
                      <a:pt x="397938" y="208859"/>
                    </a:cubicBezTo>
                    <a:cubicBezTo>
                      <a:pt x="400853" y="209173"/>
                      <a:pt x="403777" y="209335"/>
                      <a:pt x="406710" y="209335"/>
                    </a:cubicBezTo>
                    <a:cubicBezTo>
                      <a:pt x="449878" y="209278"/>
                      <a:pt x="485463" y="175464"/>
                      <a:pt x="487739" y="13234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27" name="Freeform: Shape 55326">
                <a:extLst>
                  <a:ext uri="{FF2B5EF4-FFF2-40B4-BE49-F238E27FC236}">
                    <a16:creationId xmlns:a16="http://schemas.microsoft.com/office/drawing/2014/main" id="{AD986D16-5D38-4CE1-BC55-90CF230669B0}"/>
                  </a:ext>
                </a:extLst>
              </p:cNvPr>
              <p:cNvSpPr/>
              <p:nvPr/>
            </p:nvSpPr>
            <p:spPr>
              <a:xfrm>
                <a:off x="3661295" y="990600"/>
                <a:ext cx="4869408" cy="4876800"/>
              </a:xfrm>
              <a:custGeom>
                <a:avLst/>
                <a:gdLst>
                  <a:gd name="connsiteX0" fmla="*/ 4332447 w 4869408"/>
                  <a:gd name="connsiteY0" fmla="*/ 3583781 h 4876800"/>
                  <a:gd name="connsiteX1" fmla="*/ 4338485 w 4869408"/>
                  <a:gd name="connsiteY1" fmla="*/ 3474720 h 4876800"/>
                  <a:gd name="connsiteX2" fmla="*/ 3738886 w 4869408"/>
                  <a:gd name="connsiteY2" fmla="*/ 2625090 h 4876800"/>
                  <a:gd name="connsiteX3" fmla="*/ 3738886 w 4869408"/>
                  <a:gd name="connsiteY3" fmla="*/ 650243 h 4876800"/>
                  <a:gd name="connsiteX4" fmla="*/ 1869434 w 4869408"/>
                  <a:gd name="connsiteY4" fmla="*/ 0 h 4876800"/>
                  <a:gd name="connsiteX5" fmla="*/ 0 w 4869408"/>
                  <a:gd name="connsiteY5" fmla="*/ 650243 h 4876800"/>
                  <a:gd name="connsiteX6" fmla="*/ 0 w 4869408"/>
                  <a:gd name="connsiteY6" fmla="*/ 3251207 h 4876800"/>
                  <a:gd name="connsiteX7" fmla="*/ 1163384 w 4869408"/>
                  <a:gd name="connsiteY7" fmla="*/ 3856273 h 4876800"/>
                  <a:gd name="connsiteX8" fmla="*/ 1056637 w 4869408"/>
                  <a:gd name="connsiteY8" fmla="*/ 4229500 h 4876800"/>
                  <a:gd name="connsiteX9" fmla="*/ 1635671 w 4869408"/>
                  <a:gd name="connsiteY9" fmla="*/ 4876800 h 4876800"/>
                  <a:gd name="connsiteX10" fmla="*/ 4290375 w 4869408"/>
                  <a:gd name="connsiteY10" fmla="*/ 4876800 h 4876800"/>
                  <a:gd name="connsiteX11" fmla="*/ 4869409 w 4869408"/>
                  <a:gd name="connsiteY11" fmla="*/ 4229500 h 4876800"/>
                  <a:gd name="connsiteX12" fmla="*/ 4332447 w 4869408"/>
                  <a:gd name="connsiteY12" fmla="*/ 3583781 h 4876800"/>
                  <a:gd name="connsiteX13" fmla="*/ 1869434 w 4869408"/>
                  <a:gd name="connsiteY13" fmla="*/ 162563 h 4876800"/>
                  <a:gd name="connsiteX14" fmla="*/ 3576314 w 4869408"/>
                  <a:gd name="connsiteY14" fmla="*/ 650243 h 4876800"/>
                  <a:gd name="connsiteX15" fmla="*/ 1869434 w 4869408"/>
                  <a:gd name="connsiteY15" fmla="*/ 1137923 h 4876800"/>
                  <a:gd name="connsiteX16" fmla="*/ 162554 w 4869408"/>
                  <a:gd name="connsiteY16" fmla="*/ 650243 h 4876800"/>
                  <a:gd name="connsiteX17" fmla="*/ 1869434 w 4869408"/>
                  <a:gd name="connsiteY17" fmla="*/ 162563 h 4876800"/>
                  <a:gd name="connsiteX18" fmla="*/ 162554 w 4869408"/>
                  <a:gd name="connsiteY18" fmla="*/ 3251197 h 4876800"/>
                  <a:gd name="connsiteX19" fmla="*/ 162554 w 4869408"/>
                  <a:gd name="connsiteY19" fmla="*/ 2880055 h 4876800"/>
                  <a:gd name="connsiteX20" fmla="*/ 627097 w 4869408"/>
                  <a:gd name="connsiteY20" fmla="*/ 3095149 h 4876800"/>
                  <a:gd name="connsiteX21" fmla="*/ 728186 w 4869408"/>
                  <a:gd name="connsiteY21" fmla="*/ 3040342 h 4876800"/>
                  <a:gd name="connsiteX22" fmla="*/ 673379 w 4869408"/>
                  <a:gd name="connsiteY22" fmla="*/ 2939253 h 4876800"/>
                  <a:gd name="connsiteX23" fmla="*/ 162563 w 4869408"/>
                  <a:gd name="connsiteY23" fmla="*/ 2600963 h 4876800"/>
                  <a:gd name="connsiteX24" fmla="*/ 162563 w 4869408"/>
                  <a:gd name="connsiteY24" fmla="*/ 2229822 h 4876800"/>
                  <a:gd name="connsiteX25" fmla="*/ 627107 w 4869408"/>
                  <a:gd name="connsiteY25" fmla="*/ 2444915 h 4876800"/>
                  <a:gd name="connsiteX26" fmla="*/ 728196 w 4869408"/>
                  <a:gd name="connsiteY26" fmla="*/ 2390108 h 4876800"/>
                  <a:gd name="connsiteX27" fmla="*/ 673389 w 4869408"/>
                  <a:gd name="connsiteY27" fmla="*/ 2289020 h 4876800"/>
                  <a:gd name="connsiteX28" fmla="*/ 162573 w 4869408"/>
                  <a:gd name="connsiteY28" fmla="*/ 1950730 h 4876800"/>
                  <a:gd name="connsiteX29" fmla="*/ 162573 w 4869408"/>
                  <a:gd name="connsiteY29" fmla="*/ 1579588 h 4876800"/>
                  <a:gd name="connsiteX30" fmla="*/ 627116 w 4869408"/>
                  <a:gd name="connsiteY30" fmla="*/ 1794682 h 4876800"/>
                  <a:gd name="connsiteX31" fmla="*/ 728205 w 4869408"/>
                  <a:gd name="connsiteY31" fmla="*/ 1739875 h 4876800"/>
                  <a:gd name="connsiteX32" fmla="*/ 673398 w 4869408"/>
                  <a:gd name="connsiteY32" fmla="*/ 1638786 h 4876800"/>
                  <a:gd name="connsiteX33" fmla="*/ 162582 w 4869408"/>
                  <a:gd name="connsiteY33" fmla="*/ 1300496 h 4876800"/>
                  <a:gd name="connsiteX34" fmla="*/ 162582 w 4869408"/>
                  <a:gd name="connsiteY34" fmla="*/ 928278 h 4876800"/>
                  <a:gd name="connsiteX35" fmla="*/ 1869462 w 4869408"/>
                  <a:gd name="connsiteY35" fmla="*/ 1300486 h 4876800"/>
                  <a:gd name="connsiteX36" fmla="*/ 3576342 w 4869408"/>
                  <a:gd name="connsiteY36" fmla="*/ 928278 h 4876800"/>
                  <a:gd name="connsiteX37" fmla="*/ 3576342 w 4869408"/>
                  <a:gd name="connsiteY37" fmla="*/ 1300486 h 4876800"/>
                  <a:gd name="connsiteX38" fmla="*/ 1869462 w 4869408"/>
                  <a:gd name="connsiteY38" fmla="*/ 1788166 h 4876800"/>
                  <a:gd name="connsiteX39" fmla="*/ 1629118 w 4869408"/>
                  <a:gd name="connsiteY39" fmla="*/ 1783004 h 4876800"/>
                  <a:gd name="connsiteX40" fmla="*/ 1545012 w 4869408"/>
                  <a:gd name="connsiteY40" fmla="*/ 1860737 h 4876800"/>
                  <a:gd name="connsiteX41" fmla="*/ 1622127 w 4869408"/>
                  <a:gd name="connsiteY41" fmla="*/ 1945405 h 4876800"/>
                  <a:gd name="connsiteX42" fmla="*/ 1869453 w 4869408"/>
                  <a:gd name="connsiteY42" fmla="*/ 1950730 h 4876800"/>
                  <a:gd name="connsiteX43" fmla="*/ 3576333 w 4869408"/>
                  <a:gd name="connsiteY43" fmla="*/ 1578521 h 4876800"/>
                  <a:gd name="connsiteX44" fmla="*/ 3576333 w 4869408"/>
                  <a:gd name="connsiteY44" fmla="*/ 1950720 h 4876800"/>
                  <a:gd name="connsiteX45" fmla="*/ 1869453 w 4869408"/>
                  <a:gd name="connsiteY45" fmla="*/ 2438400 h 4876800"/>
                  <a:gd name="connsiteX46" fmla="*/ 1629108 w 4869408"/>
                  <a:gd name="connsiteY46" fmla="*/ 2433238 h 4876800"/>
                  <a:gd name="connsiteX47" fmla="*/ 1544412 w 4869408"/>
                  <a:gd name="connsiteY47" fmla="*/ 2510942 h 4876800"/>
                  <a:gd name="connsiteX48" fmla="*/ 1565720 w 4869408"/>
                  <a:gd name="connsiteY48" fmla="*/ 2569388 h 4876800"/>
                  <a:gd name="connsiteX49" fmla="*/ 1622127 w 4869408"/>
                  <a:gd name="connsiteY49" fmla="*/ 2595629 h 4876800"/>
                  <a:gd name="connsiteX50" fmla="*/ 1869453 w 4869408"/>
                  <a:gd name="connsiteY50" fmla="*/ 2600944 h 4876800"/>
                  <a:gd name="connsiteX51" fmla="*/ 3576333 w 4869408"/>
                  <a:gd name="connsiteY51" fmla="*/ 2228745 h 4876800"/>
                  <a:gd name="connsiteX52" fmla="*/ 3576333 w 4869408"/>
                  <a:gd name="connsiteY52" fmla="*/ 2601859 h 4876800"/>
                  <a:gd name="connsiteX53" fmla="*/ 3560340 w 4869408"/>
                  <a:gd name="connsiteY53" fmla="*/ 2600954 h 4876800"/>
                  <a:gd name="connsiteX54" fmla="*/ 2894143 w 4869408"/>
                  <a:gd name="connsiteY54" fmla="*/ 3024340 h 4876800"/>
                  <a:gd name="connsiteX55" fmla="*/ 2498455 w 4869408"/>
                  <a:gd name="connsiteY55" fmla="*/ 2902820 h 4876800"/>
                  <a:gd name="connsiteX56" fmla="*/ 2020615 w 4869408"/>
                  <a:gd name="connsiteY56" fmla="*/ 3085919 h 4876800"/>
                  <a:gd name="connsiteX57" fmla="*/ 1628947 w 4869408"/>
                  <a:gd name="connsiteY57" fmla="*/ 3083871 h 4876800"/>
                  <a:gd name="connsiteX58" fmla="*/ 1569930 w 4869408"/>
                  <a:gd name="connsiteY58" fmla="*/ 3104617 h 4876800"/>
                  <a:gd name="connsiteX59" fmla="*/ 1544412 w 4869408"/>
                  <a:gd name="connsiteY59" fmla="*/ 3161738 h 4876800"/>
                  <a:gd name="connsiteX60" fmla="*/ 1622279 w 4869408"/>
                  <a:gd name="connsiteY60" fmla="*/ 3246273 h 4876800"/>
                  <a:gd name="connsiteX61" fmla="*/ 1869453 w 4869408"/>
                  <a:gd name="connsiteY61" fmla="*/ 3251197 h 4876800"/>
                  <a:gd name="connsiteX62" fmla="*/ 1875377 w 4869408"/>
                  <a:gd name="connsiteY62" fmla="*/ 3251092 h 4876800"/>
                  <a:gd name="connsiteX63" fmla="*/ 1737484 w 4869408"/>
                  <a:gd name="connsiteY63" fmla="*/ 3592192 h 4876800"/>
                  <a:gd name="connsiteX64" fmla="*/ 1635681 w 4869408"/>
                  <a:gd name="connsiteY64" fmla="*/ 3582115 h 4876800"/>
                  <a:gd name="connsiteX65" fmla="*/ 1293362 w 4869408"/>
                  <a:gd name="connsiteY65" fmla="*/ 3708549 h 4876800"/>
                  <a:gd name="connsiteX66" fmla="*/ 162554 w 4869408"/>
                  <a:gd name="connsiteY66" fmla="*/ 3251197 h 4876800"/>
                  <a:gd name="connsiteX67" fmla="*/ 4290375 w 4869408"/>
                  <a:gd name="connsiteY67" fmla="*/ 4714237 h 4876800"/>
                  <a:gd name="connsiteX68" fmla="*/ 1635671 w 4869408"/>
                  <a:gd name="connsiteY68" fmla="*/ 4714237 h 4876800"/>
                  <a:gd name="connsiteX69" fmla="*/ 1219190 w 4869408"/>
                  <a:gd name="connsiteY69" fmla="*/ 4229491 h 4876800"/>
                  <a:gd name="connsiteX70" fmla="*/ 1635671 w 4869408"/>
                  <a:gd name="connsiteY70" fmla="*/ 3744668 h 4876800"/>
                  <a:gd name="connsiteX71" fmla="*/ 1772707 w 4869408"/>
                  <a:gd name="connsiteY71" fmla="*/ 3772691 h 4876800"/>
                  <a:gd name="connsiteX72" fmla="*/ 1846602 w 4869408"/>
                  <a:gd name="connsiteY72" fmla="*/ 3767852 h 4876800"/>
                  <a:gd name="connsiteX73" fmla="*/ 1885855 w 4869408"/>
                  <a:gd name="connsiteY73" fmla="*/ 3705063 h 4876800"/>
                  <a:gd name="connsiteX74" fmla="*/ 2112636 w 4869408"/>
                  <a:gd name="connsiteY74" fmla="*/ 3221908 h 4876800"/>
                  <a:gd name="connsiteX75" fmla="*/ 2112959 w 4869408"/>
                  <a:gd name="connsiteY75" fmla="*/ 3221603 h 4876800"/>
                  <a:gd name="connsiteX76" fmla="*/ 2498427 w 4869408"/>
                  <a:gd name="connsiteY76" fmla="*/ 3065383 h 4876800"/>
                  <a:gd name="connsiteX77" fmla="*/ 2871254 w 4869408"/>
                  <a:gd name="connsiteY77" fmla="*/ 3211754 h 4876800"/>
                  <a:gd name="connsiteX78" fmla="*/ 2944206 w 4869408"/>
                  <a:gd name="connsiteY78" fmla="*/ 3230004 h 4876800"/>
                  <a:gd name="connsiteX79" fmla="*/ 3000870 w 4869408"/>
                  <a:gd name="connsiteY79" fmla="*/ 3180559 h 4876800"/>
                  <a:gd name="connsiteX80" fmla="*/ 3560312 w 4869408"/>
                  <a:gd name="connsiteY80" fmla="*/ 2763517 h 4876800"/>
                  <a:gd name="connsiteX81" fmla="*/ 4175903 w 4869408"/>
                  <a:gd name="connsiteY81" fmla="*/ 3474720 h 4876800"/>
                  <a:gd name="connsiteX82" fmla="*/ 4157167 w 4869408"/>
                  <a:gd name="connsiteY82" fmla="*/ 3649980 h 4876800"/>
                  <a:gd name="connsiteX83" fmla="*/ 4177760 w 4869408"/>
                  <a:gd name="connsiteY83" fmla="*/ 3723323 h 4876800"/>
                  <a:gd name="connsiteX84" fmla="*/ 4250074 w 4869408"/>
                  <a:gd name="connsiteY84" fmla="*/ 3747373 h 4876800"/>
                  <a:gd name="connsiteX85" fmla="*/ 4290356 w 4869408"/>
                  <a:gd name="connsiteY85" fmla="*/ 3744678 h 4876800"/>
                  <a:gd name="connsiteX86" fmla="*/ 4706836 w 4869408"/>
                  <a:gd name="connsiteY86" fmla="*/ 4229500 h 4876800"/>
                  <a:gd name="connsiteX87" fmla="*/ 4290375 w 4869408"/>
                  <a:gd name="connsiteY87" fmla="*/ 4714237 h 487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4869408" h="4876800">
                    <a:moveTo>
                      <a:pt x="4332447" y="3583781"/>
                    </a:moveTo>
                    <a:cubicBezTo>
                      <a:pt x="4336466" y="3547567"/>
                      <a:pt x="4338476" y="3511153"/>
                      <a:pt x="4338485" y="3474720"/>
                    </a:cubicBezTo>
                    <a:cubicBezTo>
                      <a:pt x="4338485" y="3062002"/>
                      <a:pt x="4082044" y="2716054"/>
                      <a:pt x="3738886" y="2625090"/>
                    </a:cubicBezTo>
                    <a:lnTo>
                      <a:pt x="3738886" y="650243"/>
                    </a:lnTo>
                    <a:cubicBezTo>
                      <a:pt x="3738877" y="227886"/>
                      <a:pt x="2775699" y="0"/>
                      <a:pt x="1869434" y="0"/>
                    </a:cubicBezTo>
                    <a:cubicBezTo>
                      <a:pt x="963168" y="0"/>
                      <a:pt x="0" y="227886"/>
                      <a:pt x="0" y="650243"/>
                    </a:cubicBezTo>
                    <a:lnTo>
                      <a:pt x="0" y="3251207"/>
                    </a:lnTo>
                    <a:cubicBezTo>
                      <a:pt x="0" y="3582305"/>
                      <a:pt x="576586" y="3776434"/>
                      <a:pt x="1163384" y="3856273"/>
                    </a:cubicBezTo>
                    <a:cubicBezTo>
                      <a:pt x="1093127" y="3968039"/>
                      <a:pt x="1056113" y="4097493"/>
                      <a:pt x="1056637" y="4229500"/>
                    </a:cubicBezTo>
                    <a:cubicBezTo>
                      <a:pt x="1056637" y="4586450"/>
                      <a:pt x="1316393" y="4876800"/>
                      <a:pt x="1635671" y="4876800"/>
                    </a:cubicBezTo>
                    <a:lnTo>
                      <a:pt x="4290375" y="4876800"/>
                    </a:lnTo>
                    <a:cubicBezTo>
                      <a:pt x="4609662" y="4876800"/>
                      <a:pt x="4869409" y="4586450"/>
                      <a:pt x="4869409" y="4229500"/>
                    </a:cubicBezTo>
                    <a:cubicBezTo>
                      <a:pt x="4869418" y="3888343"/>
                      <a:pt x="4632160" y="3607994"/>
                      <a:pt x="4332447" y="3583781"/>
                    </a:cubicBezTo>
                    <a:close/>
                    <a:moveTo>
                      <a:pt x="1869434" y="162563"/>
                    </a:moveTo>
                    <a:cubicBezTo>
                      <a:pt x="2926947" y="162563"/>
                      <a:pt x="3576314" y="446570"/>
                      <a:pt x="3576314" y="650243"/>
                    </a:cubicBezTo>
                    <a:cubicBezTo>
                      <a:pt x="3576314" y="853916"/>
                      <a:pt x="2926947" y="1137923"/>
                      <a:pt x="1869434" y="1137923"/>
                    </a:cubicBezTo>
                    <a:cubicBezTo>
                      <a:pt x="811921" y="1137923"/>
                      <a:pt x="162554" y="853916"/>
                      <a:pt x="162554" y="650243"/>
                    </a:cubicBezTo>
                    <a:cubicBezTo>
                      <a:pt x="162554" y="446561"/>
                      <a:pt x="811921" y="162563"/>
                      <a:pt x="1869434" y="162563"/>
                    </a:cubicBezTo>
                    <a:close/>
                    <a:moveTo>
                      <a:pt x="162554" y="3251197"/>
                    </a:moveTo>
                    <a:lnTo>
                      <a:pt x="162554" y="2880055"/>
                    </a:lnTo>
                    <a:cubicBezTo>
                      <a:pt x="303133" y="2979220"/>
                      <a:pt x="460524" y="3052096"/>
                      <a:pt x="627097" y="3095149"/>
                    </a:cubicBezTo>
                    <a:cubicBezTo>
                      <a:pt x="670150" y="3107931"/>
                      <a:pt x="715404" y="3083385"/>
                      <a:pt x="728186" y="3040342"/>
                    </a:cubicBezTo>
                    <a:cubicBezTo>
                      <a:pt x="740969" y="2997299"/>
                      <a:pt x="716423" y="2952036"/>
                      <a:pt x="673379" y="2939253"/>
                    </a:cubicBezTo>
                    <a:cubicBezTo>
                      <a:pt x="296742" y="2827496"/>
                      <a:pt x="162563" y="2691213"/>
                      <a:pt x="162563" y="2600963"/>
                    </a:cubicBezTo>
                    <a:lnTo>
                      <a:pt x="162563" y="2229822"/>
                    </a:lnTo>
                    <a:cubicBezTo>
                      <a:pt x="303143" y="2328986"/>
                      <a:pt x="460534" y="2401862"/>
                      <a:pt x="627107" y="2444915"/>
                    </a:cubicBezTo>
                    <a:cubicBezTo>
                      <a:pt x="670160" y="2457698"/>
                      <a:pt x="715413" y="2433152"/>
                      <a:pt x="728196" y="2390108"/>
                    </a:cubicBezTo>
                    <a:cubicBezTo>
                      <a:pt x="740978" y="2347065"/>
                      <a:pt x="716432" y="2301802"/>
                      <a:pt x="673389" y="2289020"/>
                    </a:cubicBezTo>
                    <a:cubicBezTo>
                      <a:pt x="296751" y="2177263"/>
                      <a:pt x="162573" y="2040979"/>
                      <a:pt x="162573" y="1950730"/>
                    </a:cubicBezTo>
                    <a:lnTo>
                      <a:pt x="162573" y="1579588"/>
                    </a:lnTo>
                    <a:cubicBezTo>
                      <a:pt x="303152" y="1678753"/>
                      <a:pt x="460543" y="1751628"/>
                      <a:pt x="627116" y="1794682"/>
                    </a:cubicBezTo>
                    <a:cubicBezTo>
                      <a:pt x="670170" y="1807464"/>
                      <a:pt x="715423" y="1782918"/>
                      <a:pt x="728205" y="1739875"/>
                    </a:cubicBezTo>
                    <a:cubicBezTo>
                      <a:pt x="740988" y="1696831"/>
                      <a:pt x="716442" y="1651568"/>
                      <a:pt x="673398" y="1638786"/>
                    </a:cubicBezTo>
                    <a:cubicBezTo>
                      <a:pt x="296761" y="1527029"/>
                      <a:pt x="162582" y="1390745"/>
                      <a:pt x="162582" y="1300496"/>
                    </a:cubicBezTo>
                    <a:lnTo>
                      <a:pt x="162582" y="928278"/>
                    </a:lnTo>
                    <a:cubicBezTo>
                      <a:pt x="474812" y="1171661"/>
                      <a:pt x="1188158" y="1300486"/>
                      <a:pt x="1869462" y="1300486"/>
                    </a:cubicBezTo>
                    <a:cubicBezTo>
                      <a:pt x="2550767" y="1300486"/>
                      <a:pt x="3264113" y="1171670"/>
                      <a:pt x="3576342" y="928278"/>
                    </a:cubicBezTo>
                    <a:lnTo>
                      <a:pt x="3576342" y="1300486"/>
                    </a:lnTo>
                    <a:cubicBezTo>
                      <a:pt x="3576342" y="1504160"/>
                      <a:pt x="2926976" y="1788166"/>
                      <a:pt x="1869462" y="1788166"/>
                    </a:cubicBezTo>
                    <a:cubicBezTo>
                      <a:pt x="1787947" y="1788166"/>
                      <a:pt x="1707833" y="1786442"/>
                      <a:pt x="1629118" y="1783004"/>
                    </a:cubicBezTo>
                    <a:cubicBezTo>
                      <a:pt x="1584493" y="1781413"/>
                      <a:pt x="1546936" y="1816122"/>
                      <a:pt x="1545012" y="1860737"/>
                    </a:cubicBezTo>
                    <a:cubicBezTo>
                      <a:pt x="1543088" y="1905353"/>
                      <a:pt x="1577531" y="1943157"/>
                      <a:pt x="1622127" y="1945405"/>
                    </a:cubicBezTo>
                    <a:cubicBezTo>
                      <a:pt x="1703013" y="1948901"/>
                      <a:pt x="1785452" y="1950672"/>
                      <a:pt x="1869453" y="1950730"/>
                    </a:cubicBezTo>
                    <a:cubicBezTo>
                      <a:pt x="2550757" y="1950730"/>
                      <a:pt x="3264103" y="1821913"/>
                      <a:pt x="3576333" y="1578521"/>
                    </a:cubicBezTo>
                    <a:lnTo>
                      <a:pt x="3576333" y="1950720"/>
                    </a:lnTo>
                    <a:cubicBezTo>
                      <a:pt x="3576333" y="2154393"/>
                      <a:pt x="2926966" y="2438400"/>
                      <a:pt x="1869453" y="2438400"/>
                    </a:cubicBezTo>
                    <a:cubicBezTo>
                      <a:pt x="1787938" y="2438400"/>
                      <a:pt x="1707823" y="2436676"/>
                      <a:pt x="1629108" y="2433238"/>
                    </a:cubicBezTo>
                    <a:cubicBezTo>
                      <a:pt x="1584455" y="2431828"/>
                      <a:pt x="1546841" y="2466337"/>
                      <a:pt x="1544412" y="2510942"/>
                    </a:cubicBezTo>
                    <a:cubicBezTo>
                      <a:pt x="1543479" y="2532479"/>
                      <a:pt x="1551146" y="2553510"/>
                      <a:pt x="1565720" y="2569388"/>
                    </a:cubicBezTo>
                    <a:cubicBezTo>
                      <a:pt x="1580293" y="2585276"/>
                      <a:pt x="1600581" y="2594715"/>
                      <a:pt x="1622127" y="2595629"/>
                    </a:cubicBezTo>
                    <a:cubicBezTo>
                      <a:pt x="1703013" y="2599125"/>
                      <a:pt x="1785452" y="2600897"/>
                      <a:pt x="1869453" y="2600944"/>
                    </a:cubicBezTo>
                    <a:cubicBezTo>
                      <a:pt x="2550757" y="2600944"/>
                      <a:pt x="3264103" y="2472128"/>
                      <a:pt x="3576333" y="2228745"/>
                    </a:cubicBezTo>
                    <a:lnTo>
                      <a:pt x="3576333" y="2601859"/>
                    </a:lnTo>
                    <a:cubicBezTo>
                      <a:pt x="3570961" y="2601735"/>
                      <a:pt x="3565741" y="2600954"/>
                      <a:pt x="3560340" y="2600954"/>
                    </a:cubicBezTo>
                    <a:cubicBezTo>
                      <a:pt x="3276905" y="2607507"/>
                      <a:pt x="3020425" y="2770508"/>
                      <a:pt x="2894143" y="3024340"/>
                    </a:cubicBezTo>
                    <a:cubicBezTo>
                      <a:pt x="2777366" y="2945178"/>
                      <a:pt x="2639540" y="2902849"/>
                      <a:pt x="2498455" y="2902820"/>
                    </a:cubicBezTo>
                    <a:cubicBezTo>
                      <a:pt x="2322205" y="2903687"/>
                      <a:pt x="2152317" y="2968790"/>
                      <a:pt x="2020615" y="3085919"/>
                    </a:cubicBezTo>
                    <a:cubicBezTo>
                      <a:pt x="1890760" y="3090177"/>
                      <a:pt x="1756296" y="3088967"/>
                      <a:pt x="1628947" y="3083871"/>
                    </a:cubicBezTo>
                    <a:cubicBezTo>
                      <a:pt x="1607258" y="3082385"/>
                      <a:pt x="1585922" y="3089891"/>
                      <a:pt x="1569930" y="3104617"/>
                    </a:cubicBezTo>
                    <a:cubicBezTo>
                      <a:pt x="1553937" y="3119342"/>
                      <a:pt x="1544717" y="3140002"/>
                      <a:pt x="1544412" y="3161738"/>
                    </a:cubicBezTo>
                    <a:cubicBezTo>
                      <a:pt x="1542574" y="3206582"/>
                      <a:pt x="1577435" y="3244425"/>
                      <a:pt x="1622279" y="3246273"/>
                    </a:cubicBezTo>
                    <a:cubicBezTo>
                      <a:pt x="1703041" y="3249606"/>
                      <a:pt x="1785433" y="3251254"/>
                      <a:pt x="1869453" y="3251197"/>
                    </a:cubicBezTo>
                    <a:cubicBezTo>
                      <a:pt x="1871444" y="3251197"/>
                      <a:pt x="1873387" y="3251092"/>
                      <a:pt x="1875377" y="3251092"/>
                    </a:cubicBezTo>
                    <a:cubicBezTo>
                      <a:pt x="1806950" y="3354362"/>
                      <a:pt x="1760049" y="3470377"/>
                      <a:pt x="1737484" y="3592192"/>
                    </a:cubicBezTo>
                    <a:cubicBezTo>
                      <a:pt x="1703965" y="3585477"/>
                      <a:pt x="1669866" y="3582095"/>
                      <a:pt x="1635681" y="3582115"/>
                    </a:cubicBezTo>
                    <a:cubicBezTo>
                      <a:pt x="1510303" y="3582943"/>
                      <a:pt x="1389174" y="3627682"/>
                      <a:pt x="1293362" y="3708549"/>
                    </a:cubicBezTo>
                    <a:cubicBezTo>
                      <a:pt x="559051" y="3626825"/>
                      <a:pt x="162554" y="3413560"/>
                      <a:pt x="162554" y="3251197"/>
                    </a:cubicBezTo>
                    <a:close/>
                    <a:moveTo>
                      <a:pt x="4290375" y="4714237"/>
                    </a:moveTo>
                    <a:lnTo>
                      <a:pt x="1635671" y="4714237"/>
                    </a:lnTo>
                    <a:cubicBezTo>
                      <a:pt x="1406042" y="4714237"/>
                      <a:pt x="1219190" y="4496753"/>
                      <a:pt x="1219190" y="4229491"/>
                    </a:cubicBezTo>
                    <a:cubicBezTo>
                      <a:pt x="1219190" y="3962152"/>
                      <a:pt x="1406042" y="3744668"/>
                      <a:pt x="1635671" y="3744668"/>
                    </a:cubicBezTo>
                    <a:cubicBezTo>
                      <a:pt x="1682782" y="3744535"/>
                      <a:pt x="1729426" y="3754069"/>
                      <a:pt x="1772707" y="3772691"/>
                    </a:cubicBezTo>
                    <a:cubicBezTo>
                      <a:pt x="1796682" y="3783054"/>
                      <a:pt x="1824180" y="3781254"/>
                      <a:pt x="1846602" y="3767852"/>
                    </a:cubicBezTo>
                    <a:cubicBezTo>
                      <a:pt x="1869024" y="3754450"/>
                      <a:pt x="1883626" y="3731085"/>
                      <a:pt x="1885855" y="3705063"/>
                    </a:cubicBezTo>
                    <a:cubicBezTo>
                      <a:pt x="1898942" y="3521469"/>
                      <a:pt x="1979762" y="3349276"/>
                      <a:pt x="2112636" y="3221908"/>
                    </a:cubicBezTo>
                    <a:lnTo>
                      <a:pt x="2112959" y="3221603"/>
                    </a:lnTo>
                    <a:cubicBezTo>
                      <a:pt x="2216925" y="3122428"/>
                      <a:pt x="2354752" y="3066574"/>
                      <a:pt x="2498427" y="3065383"/>
                    </a:cubicBezTo>
                    <a:cubicBezTo>
                      <a:pt x="2636549" y="3066259"/>
                      <a:pt x="2769422" y="3118428"/>
                      <a:pt x="2871254" y="3211754"/>
                    </a:cubicBezTo>
                    <a:cubicBezTo>
                      <a:pt x="2891123" y="3229413"/>
                      <a:pt x="2918374" y="3236224"/>
                      <a:pt x="2944206" y="3230004"/>
                    </a:cubicBezTo>
                    <a:cubicBezTo>
                      <a:pt x="2970048" y="3223784"/>
                      <a:pt x="2991212" y="3205315"/>
                      <a:pt x="3000870" y="3180559"/>
                    </a:cubicBezTo>
                    <a:cubicBezTo>
                      <a:pt x="3083357" y="2939377"/>
                      <a:pt x="3305613" y="2773699"/>
                      <a:pt x="3560312" y="2763517"/>
                    </a:cubicBezTo>
                    <a:cubicBezTo>
                      <a:pt x="3899764" y="2763517"/>
                      <a:pt x="4175903" y="3082528"/>
                      <a:pt x="4175903" y="3474720"/>
                    </a:cubicBezTo>
                    <a:cubicBezTo>
                      <a:pt x="4175912" y="3533642"/>
                      <a:pt x="4169626" y="3592392"/>
                      <a:pt x="4157167" y="3649980"/>
                    </a:cubicBezTo>
                    <a:cubicBezTo>
                      <a:pt x="4151424" y="3676336"/>
                      <a:pt x="4159139" y="3703815"/>
                      <a:pt x="4177760" y="3723323"/>
                    </a:cubicBezTo>
                    <a:cubicBezTo>
                      <a:pt x="4196458" y="3742725"/>
                      <a:pt x="4223481" y="3751707"/>
                      <a:pt x="4250074" y="3747373"/>
                    </a:cubicBezTo>
                    <a:cubicBezTo>
                      <a:pt x="4263400" y="3745325"/>
                      <a:pt x="4276878" y="3744430"/>
                      <a:pt x="4290356" y="3744678"/>
                    </a:cubicBezTo>
                    <a:cubicBezTo>
                      <a:pt x="4519984" y="3744678"/>
                      <a:pt x="4706836" y="3962162"/>
                      <a:pt x="4706836" y="4229500"/>
                    </a:cubicBezTo>
                    <a:cubicBezTo>
                      <a:pt x="4706855" y="4496753"/>
                      <a:pt x="4520003" y="4714237"/>
                      <a:pt x="4290375" y="47142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E56A6F10-2622-484E-9E41-07F731472A73}"/>
                </a:ext>
              </a:extLst>
            </p:cNvPr>
            <p:cNvGrpSpPr/>
            <p:nvPr/>
          </p:nvGrpSpPr>
          <p:grpSpPr>
            <a:xfrm>
              <a:off x="2355950" y="2942816"/>
              <a:ext cx="338117" cy="376595"/>
              <a:chOff x="6061076" y="1682751"/>
              <a:chExt cx="655637" cy="730250"/>
            </a:xfrm>
            <a:noFill/>
          </p:grpSpPr>
          <p:sp>
            <p:nvSpPr>
              <p:cNvPr id="206" name="Freeform 39">
                <a:extLst>
                  <a:ext uri="{FF2B5EF4-FFF2-40B4-BE49-F238E27FC236}">
                    <a16:creationId xmlns:a16="http://schemas.microsoft.com/office/drawing/2014/main" id="{E11557A4-798A-43B3-8A02-5836DB056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8913" y="1784351"/>
                <a:ext cx="30163" cy="157163"/>
              </a:xfrm>
              <a:custGeom>
                <a:avLst/>
                <a:gdLst>
                  <a:gd name="T0" fmla="*/ 0 w 39"/>
                  <a:gd name="T1" fmla="*/ 0 h 196"/>
                  <a:gd name="T2" fmla="*/ 0 w 39"/>
                  <a:gd name="T3" fmla="*/ 0 h 196"/>
                  <a:gd name="T4" fmla="*/ 9 w 39"/>
                  <a:gd name="T5" fmla="*/ 11 h 196"/>
                  <a:gd name="T6" fmla="*/ 16 w 39"/>
                  <a:gd name="T7" fmla="*/ 22 h 196"/>
                  <a:gd name="T8" fmla="*/ 24 w 39"/>
                  <a:gd name="T9" fmla="*/ 34 h 196"/>
                  <a:gd name="T10" fmla="*/ 30 w 39"/>
                  <a:gd name="T11" fmla="*/ 47 h 196"/>
                  <a:gd name="T12" fmla="*/ 33 w 39"/>
                  <a:gd name="T13" fmla="*/ 60 h 196"/>
                  <a:gd name="T14" fmla="*/ 37 w 39"/>
                  <a:gd name="T15" fmla="*/ 71 h 196"/>
                  <a:gd name="T16" fmla="*/ 39 w 39"/>
                  <a:gd name="T17" fmla="*/ 84 h 196"/>
                  <a:gd name="T18" fmla="*/ 39 w 39"/>
                  <a:gd name="T19" fmla="*/ 99 h 196"/>
                  <a:gd name="T20" fmla="*/ 39 w 39"/>
                  <a:gd name="T21" fmla="*/ 112 h 196"/>
                  <a:gd name="T22" fmla="*/ 37 w 39"/>
                  <a:gd name="T23" fmla="*/ 125 h 196"/>
                  <a:gd name="T24" fmla="*/ 33 w 39"/>
                  <a:gd name="T25" fmla="*/ 138 h 196"/>
                  <a:gd name="T26" fmla="*/ 30 w 39"/>
                  <a:gd name="T27" fmla="*/ 150 h 196"/>
                  <a:gd name="T28" fmla="*/ 24 w 39"/>
                  <a:gd name="T29" fmla="*/ 163 h 196"/>
                  <a:gd name="T30" fmla="*/ 16 w 39"/>
                  <a:gd name="T31" fmla="*/ 174 h 196"/>
                  <a:gd name="T32" fmla="*/ 9 w 39"/>
                  <a:gd name="T33" fmla="*/ 185 h 196"/>
                  <a:gd name="T34" fmla="*/ 0 w 39"/>
                  <a:gd name="T35" fmla="*/ 1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196">
                    <a:moveTo>
                      <a:pt x="0" y="0"/>
                    </a:moveTo>
                    <a:lnTo>
                      <a:pt x="0" y="0"/>
                    </a:lnTo>
                    <a:lnTo>
                      <a:pt x="9" y="11"/>
                    </a:lnTo>
                    <a:lnTo>
                      <a:pt x="16" y="22"/>
                    </a:lnTo>
                    <a:lnTo>
                      <a:pt x="24" y="34"/>
                    </a:lnTo>
                    <a:lnTo>
                      <a:pt x="30" y="47"/>
                    </a:lnTo>
                    <a:lnTo>
                      <a:pt x="33" y="60"/>
                    </a:lnTo>
                    <a:lnTo>
                      <a:pt x="37" y="71"/>
                    </a:lnTo>
                    <a:lnTo>
                      <a:pt x="39" y="84"/>
                    </a:lnTo>
                    <a:lnTo>
                      <a:pt x="39" y="99"/>
                    </a:lnTo>
                    <a:lnTo>
                      <a:pt x="39" y="112"/>
                    </a:lnTo>
                    <a:lnTo>
                      <a:pt x="37" y="125"/>
                    </a:lnTo>
                    <a:lnTo>
                      <a:pt x="33" y="138"/>
                    </a:lnTo>
                    <a:lnTo>
                      <a:pt x="30" y="150"/>
                    </a:lnTo>
                    <a:lnTo>
                      <a:pt x="24" y="163"/>
                    </a:lnTo>
                    <a:lnTo>
                      <a:pt x="16" y="174"/>
                    </a:lnTo>
                    <a:lnTo>
                      <a:pt x="9" y="185"/>
                    </a:lnTo>
                    <a:lnTo>
                      <a:pt x="0" y="196"/>
                    </a:lnTo>
                  </a:path>
                </a:pathLst>
              </a:cu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40">
                <a:extLst>
                  <a:ext uri="{FF2B5EF4-FFF2-40B4-BE49-F238E27FC236}">
                    <a16:creationId xmlns:a16="http://schemas.microsoft.com/office/drawing/2014/main" id="{7A3BC78F-03EB-47C2-A2DE-CC04180A87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1301" y="1735138"/>
                <a:ext cx="52388" cy="257175"/>
              </a:xfrm>
              <a:custGeom>
                <a:avLst/>
                <a:gdLst>
                  <a:gd name="T0" fmla="*/ 0 w 67"/>
                  <a:gd name="T1" fmla="*/ 0 h 326"/>
                  <a:gd name="T2" fmla="*/ 0 w 67"/>
                  <a:gd name="T3" fmla="*/ 0 h 326"/>
                  <a:gd name="T4" fmla="*/ 15 w 67"/>
                  <a:gd name="T5" fmla="*/ 17 h 326"/>
                  <a:gd name="T6" fmla="*/ 28 w 67"/>
                  <a:gd name="T7" fmla="*/ 36 h 326"/>
                  <a:gd name="T8" fmla="*/ 41 w 67"/>
                  <a:gd name="T9" fmla="*/ 55 h 326"/>
                  <a:gd name="T10" fmla="*/ 51 w 67"/>
                  <a:gd name="T11" fmla="*/ 75 h 326"/>
                  <a:gd name="T12" fmla="*/ 58 w 67"/>
                  <a:gd name="T13" fmla="*/ 98 h 326"/>
                  <a:gd name="T14" fmla="*/ 62 w 67"/>
                  <a:gd name="T15" fmla="*/ 118 h 326"/>
                  <a:gd name="T16" fmla="*/ 66 w 67"/>
                  <a:gd name="T17" fmla="*/ 141 h 326"/>
                  <a:gd name="T18" fmla="*/ 67 w 67"/>
                  <a:gd name="T19" fmla="*/ 163 h 326"/>
                  <a:gd name="T20" fmla="*/ 66 w 67"/>
                  <a:gd name="T21" fmla="*/ 184 h 326"/>
                  <a:gd name="T22" fmla="*/ 62 w 67"/>
                  <a:gd name="T23" fmla="*/ 206 h 326"/>
                  <a:gd name="T24" fmla="*/ 58 w 67"/>
                  <a:gd name="T25" fmla="*/ 229 h 326"/>
                  <a:gd name="T26" fmla="*/ 51 w 67"/>
                  <a:gd name="T27" fmla="*/ 249 h 326"/>
                  <a:gd name="T28" fmla="*/ 41 w 67"/>
                  <a:gd name="T29" fmla="*/ 270 h 326"/>
                  <a:gd name="T30" fmla="*/ 28 w 67"/>
                  <a:gd name="T31" fmla="*/ 289 h 326"/>
                  <a:gd name="T32" fmla="*/ 15 w 67"/>
                  <a:gd name="T33" fmla="*/ 307 h 326"/>
                  <a:gd name="T34" fmla="*/ 0 w 67"/>
                  <a:gd name="T35" fmla="*/ 326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326">
                    <a:moveTo>
                      <a:pt x="0" y="0"/>
                    </a:moveTo>
                    <a:lnTo>
                      <a:pt x="0" y="0"/>
                    </a:lnTo>
                    <a:lnTo>
                      <a:pt x="15" y="17"/>
                    </a:lnTo>
                    <a:lnTo>
                      <a:pt x="28" y="36"/>
                    </a:lnTo>
                    <a:lnTo>
                      <a:pt x="41" y="55"/>
                    </a:lnTo>
                    <a:lnTo>
                      <a:pt x="51" y="75"/>
                    </a:lnTo>
                    <a:lnTo>
                      <a:pt x="58" y="98"/>
                    </a:lnTo>
                    <a:lnTo>
                      <a:pt x="62" y="118"/>
                    </a:lnTo>
                    <a:lnTo>
                      <a:pt x="66" y="141"/>
                    </a:lnTo>
                    <a:lnTo>
                      <a:pt x="67" y="163"/>
                    </a:lnTo>
                    <a:lnTo>
                      <a:pt x="66" y="184"/>
                    </a:lnTo>
                    <a:lnTo>
                      <a:pt x="62" y="206"/>
                    </a:lnTo>
                    <a:lnTo>
                      <a:pt x="58" y="229"/>
                    </a:lnTo>
                    <a:lnTo>
                      <a:pt x="51" y="249"/>
                    </a:lnTo>
                    <a:lnTo>
                      <a:pt x="41" y="270"/>
                    </a:lnTo>
                    <a:lnTo>
                      <a:pt x="28" y="289"/>
                    </a:lnTo>
                    <a:lnTo>
                      <a:pt x="15" y="307"/>
                    </a:lnTo>
                    <a:lnTo>
                      <a:pt x="0" y="326"/>
                    </a:lnTo>
                  </a:path>
                </a:pathLst>
              </a:cu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41">
                <a:extLst>
                  <a:ext uri="{FF2B5EF4-FFF2-40B4-BE49-F238E27FC236}">
                    <a16:creationId xmlns:a16="http://schemas.microsoft.com/office/drawing/2014/main" id="{B13A952C-8F4B-40C0-B677-0721E9B02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0513" y="1682751"/>
                <a:ext cx="76200" cy="360363"/>
              </a:xfrm>
              <a:custGeom>
                <a:avLst/>
                <a:gdLst>
                  <a:gd name="T0" fmla="*/ 0 w 95"/>
                  <a:gd name="T1" fmla="*/ 0 h 455"/>
                  <a:gd name="T2" fmla="*/ 0 w 95"/>
                  <a:gd name="T3" fmla="*/ 0 h 455"/>
                  <a:gd name="T4" fmla="*/ 22 w 95"/>
                  <a:gd name="T5" fmla="*/ 24 h 455"/>
                  <a:gd name="T6" fmla="*/ 43 w 95"/>
                  <a:gd name="T7" fmla="*/ 50 h 455"/>
                  <a:gd name="T8" fmla="*/ 58 w 95"/>
                  <a:gd name="T9" fmla="*/ 77 h 455"/>
                  <a:gd name="T10" fmla="*/ 71 w 95"/>
                  <a:gd name="T11" fmla="*/ 106 h 455"/>
                  <a:gd name="T12" fmla="*/ 82 w 95"/>
                  <a:gd name="T13" fmla="*/ 136 h 455"/>
                  <a:gd name="T14" fmla="*/ 90 w 95"/>
                  <a:gd name="T15" fmla="*/ 166 h 455"/>
                  <a:gd name="T16" fmla="*/ 93 w 95"/>
                  <a:gd name="T17" fmla="*/ 196 h 455"/>
                  <a:gd name="T18" fmla="*/ 95 w 95"/>
                  <a:gd name="T19" fmla="*/ 228 h 455"/>
                  <a:gd name="T20" fmla="*/ 93 w 95"/>
                  <a:gd name="T21" fmla="*/ 258 h 455"/>
                  <a:gd name="T22" fmla="*/ 90 w 95"/>
                  <a:gd name="T23" fmla="*/ 288 h 455"/>
                  <a:gd name="T24" fmla="*/ 82 w 95"/>
                  <a:gd name="T25" fmla="*/ 320 h 455"/>
                  <a:gd name="T26" fmla="*/ 71 w 95"/>
                  <a:gd name="T27" fmla="*/ 348 h 455"/>
                  <a:gd name="T28" fmla="*/ 58 w 95"/>
                  <a:gd name="T29" fmla="*/ 378 h 455"/>
                  <a:gd name="T30" fmla="*/ 43 w 95"/>
                  <a:gd name="T31" fmla="*/ 404 h 455"/>
                  <a:gd name="T32" fmla="*/ 22 w 95"/>
                  <a:gd name="T33" fmla="*/ 430 h 455"/>
                  <a:gd name="T34" fmla="*/ 0 w 95"/>
                  <a:gd name="T35" fmla="*/ 45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5" h="455">
                    <a:moveTo>
                      <a:pt x="0" y="0"/>
                    </a:moveTo>
                    <a:lnTo>
                      <a:pt x="0" y="0"/>
                    </a:lnTo>
                    <a:lnTo>
                      <a:pt x="22" y="24"/>
                    </a:lnTo>
                    <a:lnTo>
                      <a:pt x="43" y="50"/>
                    </a:lnTo>
                    <a:lnTo>
                      <a:pt x="58" y="77"/>
                    </a:lnTo>
                    <a:lnTo>
                      <a:pt x="71" y="106"/>
                    </a:lnTo>
                    <a:lnTo>
                      <a:pt x="82" y="136"/>
                    </a:lnTo>
                    <a:lnTo>
                      <a:pt x="90" y="166"/>
                    </a:lnTo>
                    <a:lnTo>
                      <a:pt x="93" y="196"/>
                    </a:lnTo>
                    <a:lnTo>
                      <a:pt x="95" y="228"/>
                    </a:lnTo>
                    <a:lnTo>
                      <a:pt x="93" y="258"/>
                    </a:lnTo>
                    <a:lnTo>
                      <a:pt x="90" y="288"/>
                    </a:lnTo>
                    <a:lnTo>
                      <a:pt x="82" y="320"/>
                    </a:lnTo>
                    <a:lnTo>
                      <a:pt x="71" y="348"/>
                    </a:lnTo>
                    <a:lnTo>
                      <a:pt x="58" y="378"/>
                    </a:lnTo>
                    <a:lnTo>
                      <a:pt x="43" y="404"/>
                    </a:lnTo>
                    <a:lnTo>
                      <a:pt x="22" y="430"/>
                    </a:lnTo>
                    <a:lnTo>
                      <a:pt x="0" y="455"/>
                    </a:lnTo>
                  </a:path>
                </a:pathLst>
              </a:cu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42">
                <a:extLst>
                  <a:ext uri="{FF2B5EF4-FFF2-40B4-BE49-F238E27FC236}">
                    <a16:creationId xmlns:a16="http://schemas.microsoft.com/office/drawing/2014/main" id="{84BEE09F-CC43-4F54-B330-DE91CACE5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3013" y="1798638"/>
                <a:ext cx="130175" cy="130175"/>
              </a:xfrm>
              <a:custGeom>
                <a:avLst/>
                <a:gdLst>
                  <a:gd name="T0" fmla="*/ 165 w 165"/>
                  <a:gd name="T1" fmla="*/ 82 h 164"/>
                  <a:gd name="T2" fmla="*/ 165 w 165"/>
                  <a:gd name="T3" fmla="*/ 82 h 164"/>
                  <a:gd name="T4" fmla="*/ 163 w 165"/>
                  <a:gd name="T5" fmla="*/ 97 h 164"/>
                  <a:gd name="T6" fmla="*/ 159 w 165"/>
                  <a:gd name="T7" fmla="*/ 114 h 164"/>
                  <a:gd name="T8" fmla="*/ 152 w 165"/>
                  <a:gd name="T9" fmla="*/ 127 h 164"/>
                  <a:gd name="T10" fmla="*/ 141 w 165"/>
                  <a:gd name="T11" fmla="*/ 140 h 164"/>
                  <a:gd name="T12" fmla="*/ 129 w 165"/>
                  <a:gd name="T13" fmla="*/ 150 h 164"/>
                  <a:gd name="T14" fmla="*/ 114 w 165"/>
                  <a:gd name="T15" fmla="*/ 157 h 164"/>
                  <a:gd name="T16" fmla="*/ 99 w 165"/>
                  <a:gd name="T17" fmla="*/ 163 h 164"/>
                  <a:gd name="T18" fmla="*/ 83 w 165"/>
                  <a:gd name="T19" fmla="*/ 164 h 164"/>
                  <a:gd name="T20" fmla="*/ 83 w 165"/>
                  <a:gd name="T21" fmla="*/ 164 h 164"/>
                  <a:gd name="T22" fmla="*/ 66 w 165"/>
                  <a:gd name="T23" fmla="*/ 163 h 164"/>
                  <a:gd name="T24" fmla="*/ 51 w 165"/>
                  <a:gd name="T25" fmla="*/ 157 h 164"/>
                  <a:gd name="T26" fmla="*/ 38 w 165"/>
                  <a:gd name="T27" fmla="*/ 150 h 164"/>
                  <a:gd name="T28" fmla="*/ 25 w 165"/>
                  <a:gd name="T29" fmla="*/ 140 h 164"/>
                  <a:gd name="T30" fmla="*/ 15 w 165"/>
                  <a:gd name="T31" fmla="*/ 127 h 164"/>
                  <a:gd name="T32" fmla="*/ 8 w 165"/>
                  <a:gd name="T33" fmla="*/ 114 h 164"/>
                  <a:gd name="T34" fmla="*/ 2 w 165"/>
                  <a:gd name="T35" fmla="*/ 97 h 164"/>
                  <a:gd name="T36" fmla="*/ 0 w 165"/>
                  <a:gd name="T37" fmla="*/ 82 h 164"/>
                  <a:gd name="T38" fmla="*/ 0 w 165"/>
                  <a:gd name="T39" fmla="*/ 82 h 164"/>
                  <a:gd name="T40" fmla="*/ 2 w 165"/>
                  <a:gd name="T41" fmla="*/ 65 h 164"/>
                  <a:gd name="T42" fmla="*/ 8 w 165"/>
                  <a:gd name="T43" fmla="*/ 48 h 164"/>
                  <a:gd name="T44" fmla="*/ 15 w 165"/>
                  <a:gd name="T45" fmla="*/ 35 h 164"/>
                  <a:gd name="T46" fmla="*/ 25 w 165"/>
                  <a:gd name="T47" fmla="*/ 22 h 164"/>
                  <a:gd name="T48" fmla="*/ 38 w 165"/>
                  <a:gd name="T49" fmla="*/ 13 h 164"/>
                  <a:gd name="T50" fmla="*/ 51 w 165"/>
                  <a:gd name="T51" fmla="*/ 5 h 164"/>
                  <a:gd name="T52" fmla="*/ 66 w 165"/>
                  <a:gd name="T53" fmla="*/ 0 h 164"/>
                  <a:gd name="T54" fmla="*/ 83 w 165"/>
                  <a:gd name="T55" fmla="*/ 0 h 164"/>
                  <a:gd name="T56" fmla="*/ 83 w 165"/>
                  <a:gd name="T57" fmla="*/ 0 h 164"/>
                  <a:gd name="T58" fmla="*/ 99 w 165"/>
                  <a:gd name="T59" fmla="*/ 0 h 164"/>
                  <a:gd name="T60" fmla="*/ 114 w 165"/>
                  <a:gd name="T61" fmla="*/ 5 h 164"/>
                  <a:gd name="T62" fmla="*/ 129 w 165"/>
                  <a:gd name="T63" fmla="*/ 13 h 164"/>
                  <a:gd name="T64" fmla="*/ 141 w 165"/>
                  <a:gd name="T65" fmla="*/ 22 h 164"/>
                  <a:gd name="T66" fmla="*/ 152 w 165"/>
                  <a:gd name="T67" fmla="*/ 35 h 164"/>
                  <a:gd name="T68" fmla="*/ 159 w 165"/>
                  <a:gd name="T69" fmla="*/ 48 h 164"/>
                  <a:gd name="T70" fmla="*/ 163 w 165"/>
                  <a:gd name="T71" fmla="*/ 65 h 164"/>
                  <a:gd name="T72" fmla="*/ 165 w 165"/>
                  <a:gd name="T73" fmla="*/ 82 h 164"/>
                  <a:gd name="T74" fmla="*/ 165 w 165"/>
                  <a:gd name="T75" fmla="*/ 8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5" h="164">
                    <a:moveTo>
                      <a:pt x="165" y="82"/>
                    </a:moveTo>
                    <a:lnTo>
                      <a:pt x="165" y="82"/>
                    </a:lnTo>
                    <a:lnTo>
                      <a:pt x="163" y="97"/>
                    </a:lnTo>
                    <a:lnTo>
                      <a:pt x="159" y="114"/>
                    </a:lnTo>
                    <a:lnTo>
                      <a:pt x="152" y="127"/>
                    </a:lnTo>
                    <a:lnTo>
                      <a:pt x="141" y="140"/>
                    </a:lnTo>
                    <a:lnTo>
                      <a:pt x="129" y="150"/>
                    </a:lnTo>
                    <a:lnTo>
                      <a:pt x="114" y="157"/>
                    </a:lnTo>
                    <a:lnTo>
                      <a:pt x="99" y="163"/>
                    </a:lnTo>
                    <a:lnTo>
                      <a:pt x="83" y="164"/>
                    </a:lnTo>
                    <a:lnTo>
                      <a:pt x="83" y="164"/>
                    </a:lnTo>
                    <a:lnTo>
                      <a:pt x="66" y="163"/>
                    </a:lnTo>
                    <a:lnTo>
                      <a:pt x="51" y="157"/>
                    </a:lnTo>
                    <a:lnTo>
                      <a:pt x="38" y="150"/>
                    </a:lnTo>
                    <a:lnTo>
                      <a:pt x="25" y="140"/>
                    </a:lnTo>
                    <a:lnTo>
                      <a:pt x="15" y="127"/>
                    </a:lnTo>
                    <a:lnTo>
                      <a:pt x="8" y="114"/>
                    </a:lnTo>
                    <a:lnTo>
                      <a:pt x="2" y="97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2" y="65"/>
                    </a:lnTo>
                    <a:lnTo>
                      <a:pt x="8" y="48"/>
                    </a:lnTo>
                    <a:lnTo>
                      <a:pt x="15" y="35"/>
                    </a:lnTo>
                    <a:lnTo>
                      <a:pt x="25" y="22"/>
                    </a:lnTo>
                    <a:lnTo>
                      <a:pt x="38" y="13"/>
                    </a:lnTo>
                    <a:lnTo>
                      <a:pt x="51" y="5"/>
                    </a:lnTo>
                    <a:lnTo>
                      <a:pt x="66" y="0"/>
                    </a:lnTo>
                    <a:lnTo>
                      <a:pt x="83" y="0"/>
                    </a:lnTo>
                    <a:lnTo>
                      <a:pt x="83" y="0"/>
                    </a:lnTo>
                    <a:lnTo>
                      <a:pt x="99" y="0"/>
                    </a:lnTo>
                    <a:lnTo>
                      <a:pt x="114" y="5"/>
                    </a:lnTo>
                    <a:lnTo>
                      <a:pt x="129" y="13"/>
                    </a:lnTo>
                    <a:lnTo>
                      <a:pt x="141" y="22"/>
                    </a:lnTo>
                    <a:lnTo>
                      <a:pt x="152" y="35"/>
                    </a:lnTo>
                    <a:lnTo>
                      <a:pt x="159" y="48"/>
                    </a:lnTo>
                    <a:lnTo>
                      <a:pt x="163" y="65"/>
                    </a:lnTo>
                    <a:lnTo>
                      <a:pt x="165" y="82"/>
                    </a:lnTo>
                    <a:lnTo>
                      <a:pt x="165" y="82"/>
                    </a:lnTo>
                    <a:close/>
                  </a:path>
                </a:pathLst>
              </a:cu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43">
                <a:extLst>
                  <a:ext uri="{FF2B5EF4-FFF2-40B4-BE49-F238E27FC236}">
                    <a16:creationId xmlns:a16="http://schemas.microsoft.com/office/drawing/2014/main" id="{FB926186-8520-49BD-9A85-C6D2C4858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7126" y="1784351"/>
                <a:ext cx="33338" cy="157163"/>
              </a:xfrm>
              <a:custGeom>
                <a:avLst/>
                <a:gdLst>
                  <a:gd name="T0" fmla="*/ 42 w 42"/>
                  <a:gd name="T1" fmla="*/ 196 h 196"/>
                  <a:gd name="T2" fmla="*/ 42 w 42"/>
                  <a:gd name="T3" fmla="*/ 196 h 196"/>
                  <a:gd name="T4" fmla="*/ 32 w 42"/>
                  <a:gd name="T5" fmla="*/ 185 h 196"/>
                  <a:gd name="T6" fmla="*/ 23 w 42"/>
                  <a:gd name="T7" fmla="*/ 174 h 196"/>
                  <a:gd name="T8" fmla="*/ 17 w 42"/>
                  <a:gd name="T9" fmla="*/ 163 h 196"/>
                  <a:gd name="T10" fmla="*/ 12 w 42"/>
                  <a:gd name="T11" fmla="*/ 150 h 196"/>
                  <a:gd name="T12" fmla="*/ 6 w 42"/>
                  <a:gd name="T13" fmla="*/ 138 h 196"/>
                  <a:gd name="T14" fmla="*/ 4 w 42"/>
                  <a:gd name="T15" fmla="*/ 125 h 196"/>
                  <a:gd name="T16" fmla="*/ 2 w 42"/>
                  <a:gd name="T17" fmla="*/ 112 h 196"/>
                  <a:gd name="T18" fmla="*/ 0 w 42"/>
                  <a:gd name="T19" fmla="*/ 99 h 196"/>
                  <a:gd name="T20" fmla="*/ 2 w 42"/>
                  <a:gd name="T21" fmla="*/ 84 h 196"/>
                  <a:gd name="T22" fmla="*/ 4 w 42"/>
                  <a:gd name="T23" fmla="*/ 71 h 196"/>
                  <a:gd name="T24" fmla="*/ 6 w 42"/>
                  <a:gd name="T25" fmla="*/ 60 h 196"/>
                  <a:gd name="T26" fmla="*/ 12 w 42"/>
                  <a:gd name="T27" fmla="*/ 47 h 196"/>
                  <a:gd name="T28" fmla="*/ 17 w 42"/>
                  <a:gd name="T29" fmla="*/ 34 h 196"/>
                  <a:gd name="T30" fmla="*/ 23 w 42"/>
                  <a:gd name="T31" fmla="*/ 22 h 196"/>
                  <a:gd name="T32" fmla="*/ 32 w 42"/>
                  <a:gd name="T33" fmla="*/ 11 h 196"/>
                  <a:gd name="T34" fmla="*/ 42 w 42"/>
                  <a:gd name="T35" fmla="*/ 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" h="196">
                    <a:moveTo>
                      <a:pt x="42" y="196"/>
                    </a:moveTo>
                    <a:lnTo>
                      <a:pt x="42" y="196"/>
                    </a:lnTo>
                    <a:lnTo>
                      <a:pt x="32" y="185"/>
                    </a:lnTo>
                    <a:lnTo>
                      <a:pt x="23" y="174"/>
                    </a:lnTo>
                    <a:lnTo>
                      <a:pt x="17" y="163"/>
                    </a:lnTo>
                    <a:lnTo>
                      <a:pt x="12" y="150"/>
                    </a:lnTo>
                    <a:lnTo>
                      <a:pt x="6" y="138"/>
                    </a:lnTo>
                    <a:lnTo>
                      <a:pt x="4" y="125"/>
                    </a:lnTo>
                    <a:lnTo>
                      <a:pt x="2" y="112"/>
                    </a:lnTo>
                    <a:lnTo>
                      <a:pt x="0" y="99"/>
                    </a:lnTo>
                    <a:lnTo>
                      <a:pt x="2" y="84"/>
                    </a:lnTo>
                    <a:lnTo>
                      <a:pt x="4" y="71"/>
                    </a:lnTo>
                    <a:lnTo>
                      <a:pt x="6" y="60"/>
                    </a:lnTo>
                    <a:lnTo>
                      <a:pt x="12" y="47"/>
                    </a:lnTo>
                    <a:lnTo>
                      <a:pt x="17" y="34"/>
                    </a:lnTo>
                    <a:lnTo>
                      <a:pt x="23" y="22"/>
                    </a:lnTo>
                    <a:lnTo>
                      <a:pt x="32" y="11"/>
                    </a:lnTo>
                    <a:lnTo>
                      <a:pt x="42" y="0"/>
                    </a:lnTo>
                  </a:path>
                </a:pathLst>
              </a:cu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44">
                <a:extLst>
                  <a:ext uri="{FF2B5EF4-FFF2-40B4-BE49-F238E27FC236}">
                    <a16:creationId xmlns:a16="http://schemas.microsoft.com/office/drawing/2014/main" id="{C3EE8F4B-5600-41D3-87F5-8868430B54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4101" y="1735138"/>
                <a:ext cx="53975" cy="257175"/>
              </a:xfrm>
              <a:custGeom>
                <a:avLst/>
                <a:gdLst>
                  <a:gd name="T0" fmla="*/ 67 w 67"/>
                  <a:gd name="T1" fmla="*/ 326 h 326"/>
                  <a:gd name="T2" fmla="*/ 67 w 67"/>
                  <a:gd name="T3" fmla="*/ 326 h 326"/>
                  <a:gd name="T4" fmla="*/ 52 w 67"/>
                  <a:gd name="T5" fmla="*/ 307 h 326"/>
                  <a:gd name="T6" fmla="*/ 37 w 67"/>
                  <a:gd name="T7" fmla="*/ 289 h 326"/>
                  <a:gd name="T8" fmla="*/ 26 w 67"/>
                  <a:gd name="T9" fmla="*/ 270 h 326"/>
                  <a:gd name="T10" fmla="*/ 16 w 67"/>
                  <a:gd name="T11" fmla="*/ 249 h 326"/>
                  <a:gd name="T12" fmla="*/ 9 w 67"/>
                  <a:gd name="T13" fmla="*/ 229 h 326"/>
                  <a:gd name="T14" fmla="*/ 3 w 67"/>
                  <a:gd name="T15" fmla="*/ 206 h 326"/>
                  <a:gd name="T16" fmla="*/ 2 w 67"/>
                  <a:gd name="T17" fmla="*/ 184 h 326"/>
                  <a:gd name="T18" fmla="*/ 0 w 67"/>
                  <a:gd name="T19" fmla="*/ 163 h 326"/>
                  <a:gd name="T20" fmla="*/ 2 w 67"/>
                  <a:gd name="T21" fmla="*/ 141 h 326"/>
                  <a:gd name="T22" fmla="*/ 3 w 67"/>
                  <a:gd name="T23" fmla="*/ 118 h 326"/>
                  <a:gd name="T24" fmla="*/ 9 w 67"/>
                  <a:gd name="T25" fmla="*/ 98 h 326"/>
                  <a:gd name="T26" fmla="*/ 16 w 67"/>
                  <a:gd name="T27" fmla="*/ 75 h 326"/>
                  <a:gd name="T28" fmla="*/ 26 w 67"/>
                  <a:gd name="T29" fmla="*/ 55 h 326"/>
                  <a:gd name="T30" fmla="*/ 37 w 67"/>
                  <a:gd name="T31" fmla="*/ 36 h 326"/>
                  <a:gd name="T32" fmla="*/ 52 w 67"/>
                  <a:gd name="T33" fmla="*/ 17 h 326"/>
                  <a:gd name="T34" fmla="*/ 67 w 67"/>
                  <a:gd name="T35" fmla="*/ 0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7" h="326">
                    <a:moveTo>
                      <a:pt x="67" y="326"/>
                    </a:moveTo>
                    <a:lnTo>
                      <a:pt x="67" y="326"/>
                    </a:lnTo>
                    <a:lnTo>
                      <a:pt x="52" y="307"/>
                    </a:lnTo>
                    <a:lnTo>
                      <a:pt x="37" y="289"/>
                    </a:lnTo>
                    <a:lnTo>
                      <a:pt x="26" y="270"/>
                    </a:lnTo>
                    <a:lnTo>
                      <a:pt x="16" y="249"/>
                    </a:lnTo>
                    <a:lnTo>
                      <a:pt x="9" y="229"/>
                    </a:lnTo>
                    <a:lnTo>
                      <a:pt x="3" y="206"/>
                    </a:lnTo>
                    <a:lnTo>
                      <a:pt x="2" y="184"/>
                    </a:lnTo>
                    <a:lnTo>
                      <a:pt x="0" y="163"/>
                    </a:lnTo>
                    <a:lnTo>
                      <a:pt x="2" y="141"/>
                    </a:lnTo>
                    <a:lnTo>
                      <a:pt x="3" y="118"/>
                    </a:lnTo>
                    <a:lnTo>
                      <a:pt x="9" y="98"/>
                    </a:lnTo>
                    <a:lnTo>
                      <a:pt x="16" y="75"/>
                    </a:lnTo>
                    <a:lnTo>
                      <a:pt x="26" y="55"/>
                    </a:lnTo>
                    <a:lnTo>
                      <a:pt x="37" y="36"/>
                    </a:lnTo>
                    <a:lnTo>
                      <a:pt x="52" y="17"/>
                    </a:lnTo>
                    <a:lnTo>
                      <a:pt x="67" y="0"/>
                    </a:lnTo>
                  </a:path>
                </a:pathLst>
              </a:cu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45">
                <a:extLst>
                  <a:ext uri="{FF2B5EF4-FFF2-40B4-BE49-F238E27FC236}">
                    <a16:creationId xmlns:a16="http://schemas.microsoft.com/office/drawing/2014/main" id="{D2605D44-75DE-43DF-B1B0-2B68F0EA7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1076" y="1682751"/>
                <a:ext cx="74613" cy="360363"/>
              </a:xfrm>
              <a:custGeom>
                <a:avLst/>
                <a:gdLst>
                  <a:gd name="T0" fmla="*/ 94 w 94"/>
                  <a:gd name="T1" fmla="*/ 455 h 455"/>
                  <a:gd name="T2" fmla="*/ 94 w 94"/>
                  <a:gd name="T3" fmla="*/ 455 h 455"/>
                  <a:gd name="T4" fmla="*/ 71 w 94"/>
                  <a:gd name="T5" fmla="*/ 430 h 455"/>
                  <a:gd name="T6" fmla="*/ 52 w 94"/>
                  <a:gd name="T7" fmla="*/ 404 h 455"/>
                  <a:gd name="T8" fmla="*/ 36 w 94"/>
                  <a:gd name="T9" fmla="*/ 378 h 455"/>
                  <a:gd name="T10" fmla="*/ 22 w 94"/>
                  <a:gd name="T11" fmla="*/ 348 h 455"/>
                  <a:gd name="T12" fmla="*/ 13 w 94"/>
                  <a:gd name="T13" fmla="*/ 320 h 455"/>
                  <a:gd name="T14" fmla="*/ 6 w 94"/>
                  <a:gd name="T15" fmla="*/ 288 h 455"/>
                  <a:gd name="T16" fmla="*/ 2 w 94"/>
                  <a:gd name="T17" fmla="*/ 258 h 455"/>
                  <a:gd name="T18" fmla="*/ 0 w 94"/>
                  <a:gd name="T19" fmla="*/ 228 h 455"/>
                  <a:gd name="T20" fmla="*/ 2 w 94"/>
                  <a:gd name="T21" fmla="*/ 196 h 455"/>
                  <a:gd name="T22" fmla="*/ 6 w 94"/>
                  <a:gd name="T23" fmla="*/ 166 h 455"/>
                  <a:gd name="T24" fmla="*/ 13 w 94"/>
                  <a:gd name="T25" fmla="*/ 136 h 455"/>
                  <a:gd name="T26" fmla="*/ 22 w 94"/>
                  <a:gd name="T27" fmla="*/ 106 h 455"/>
                  <a:gd name="T28" fmla="*/ 36 w 94"/>
                  <a:gd name="T29" fmla="*/ 77 h 455"/>
                  <a:gd name="T30" fmla="*/ 52 w 94"/>
                  <a:gd name="T31" fmla="*/ 50 h 455"/>
                  <a:gd name="T32" fmla="*/ 71 w 94"/>
                  <a:gd name="T33" fmla="*/ 24 h 455"/>
                  <a:gd name="T34" fmla="*/ 94 w 94"/>
                  <a:gd name="T35" fmla="*/ 0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4" h="455">
                    <a:moveTo>
                      <a:pt x="94" y="455"/>
                    </a:moveTo>
                    <a:lnTo>
                      <a:pt x="94" y="455"/>
                    </a:lnTo>
                    <a:lnTo>
                      <a:pt x="71" y="430"/>
                    </a:lnTo>
                    <a:lnTo>
                      <a:pt x="52" y="404"/>
                    </a:lnTo>
                    <a:lnTo>
                      <a:pt x="36" y="378"/>
                    </a:lnTo>
                    <a:lnTo>
                      <a:pt x="22" y="348"/>
                    </a:lnTo>
                    <a:lnTo>
                      <a:pt x="13" y="320"/>
                    </a:lnTo>
                    <a:lnTo>
                      <a:pt x="6" y="288"/>
                    </a:lnTo>
                    <a:lnTo>
                      <a:pt x="2" y="258"/>
                    </a:lnTo>
                    <a:lnTo>
                      <a:pt x="0" y="228"/>
                    </a:lnTo>
                    <a:lnTo>
                      <a:pt x="2" y="196"/>
                    </a:lnTo>
                    <a:lnTo>
                      <a:pt x="6" y="166"/>
                    </a:lnTo>
                    <a:lnTo>
                      <a:pt x="13" y="136"/>
                    </a:lnTo>
                    <a:lnTo>
                      <a:pt x="22" y="106"/>
                    </a:lnTo>
                    <a:lnTo>
                      <a:pt x="36" y="77"/>
                    </a:lnTo>
                    <a:lnTo>
                      <a:pt x="52" y="50"/>
                    </a:lnTo>
                    <a:lnTo>
                      <a:pt x="71" y="24"/>
                    </a:lnTo>
                    <a:lnTo>
                      <a:pt x="94" y="0"/>
                    </a:lnTo>
                  </a:path>
                </a:pathLst>
              </a:cu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Line 46">
                <a:extLst>
                  <a:ext uri="{FF2B5EF4-FFF2-40B4-BE49-F238E27FC236}">
                    <a16:creationId xmlns:a16="http://schemas.microsoft.com/office/drawing/2014/main" id="{FA5B4C5A-7E4B-4923-A870-9740E040AB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269038" y="1925638"/>
                <a:ext cx="90488" cy="487363"/>
              </a:xfrm>
              <a:prstGeom prst="line">
                <a:avLst/>
              </a:pr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Line 47">
                <a:extLst>
                  <a:ext uri="{FF2B5EF4-FFF2-40B4-BE49-F238E27FC236}">
                    <a16:creationId xmlns:a16="http://schemas.microsoft.com/office/drawing/2014/main" id="{C4494889-B16E-4FE2-90DC-02DCF3F9E6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418263" y="1925638"/>
                <a:ext cx="88900" cy="487363"/>
              </a:xfrm>
              <a:prstGeom prst="line">
                <a:avLst/>
              </a:pr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Line 48">
                <a:extLst>
                  <a:ext uri="{FF2B5EF4-FFF2-40B4-BE49-F238E27FC236}">
                    <a16:creationId xmlns:a16="http://schemas.microsoft.com/office/drawing/2014/main" id="{3BAC2E8B-BB25-442E-B525-B22C942B7A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38888" y="2068513"/>
                <a:ext cx="100013" cy="0"/>
              </a:xfrm>
              <a:prstGeom prst="line">
                <a:avLst/>
              </a:pr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Line 49">
                <a:extLst>
                  <a:ext uri="{FF2B5EF4-FFF2-40B4-BE49-F238E27FC236}">
                    <a16:creationId xmlns:a16="http://schemas.microsoft.com/office/drawing/2014/main" id="{3ACF3A89-6DFC-4C76-BBBB-4E926A6828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19838" y="2211388"/>
                <a:ext cx="136525" cy="0"/>
              </a:xfrm>
              <a:prstGeom prst="line">
                <a:avLst/>
              </a:pr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Line 50">
                <a:extLst>
                  <a:ext uri="{FF2B5EF4-FFF2-40B4-BE49-F238E27FC236}">
                    <a16:creationId xmlns:a16="http://schemas.microsoft.com/office/drawing/2014/main" id="{94ED7BF9-549E-44FA-8191-DFBF8BA8F4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4913" y="2354263"/>
                <a:ext cx="207963" cy="0"/>
              </a:xfrm>
              <a:prstGeom prst="line">
                <a:avLst/>
              </a:prstGeom>
              <a:grpFill/>
              <a:ln w="12700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45269DB5-FC6E-4616-B98C-D3BE1C151F2F}"/>
                </a:ext>
              </a:extLst>
            </p:cNvPr>
            <p:cNvSpPr txBox="1"/>
            <p:nvPr/>
          </p:nvSpPr>
          <p:spPr>
            <a:xfrm>
              <a:off x="492940" y="3339619"/>
              <a:ext cx="1286022" cy="233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ru-RU" sz="1100" dirty="0">
                  <a:solidFill>
                    <a:schemeClr val="tx2"/>
                  </a:solidFill>
                </a:rPr>
                <a:t>Городские зоны</a:t>
              </a:r>
            </a:p>
          </p:txBody>
        </p:sp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DDF82B5F-7351-4D1C-A9C3-1030EC6D6B85}"/>
                </a:ext>
              </a:extLst>
            </p:cNvPr>
            <p:cNvSpPr txBox="1"/>
            <p:nvPr/>
          </p:nvSpPr>
          <p:spPr>
            <a:xfrm>
              <a:off x="3691869" y="3999439"/>
              <a:ext cx="1672174" cy="3744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ru-RU" sz="1100" dirty="0">
                  <a:solidFill>
                    <a:schemeClr val="tx2"/>
                  </a:solidFill>
                </a:rPr>
                <a:t>Труднодоступные зоны</a:t>
              </a: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3A2E0C50-D251-410A-B983-3ED28F066D9C}"/>
                </a:ext>
              </a:extLst>
            </p:cNvPr>
            <p:cNvSpPr txBox="1"/>
            <p:nvPr/>
          </p:nvSpPr>
          <p:spPr>
            <a:xfrm>
              <a:off x="5257097" y="4639228"/>
              <a:ext cx="1286022" cy="3744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ru-RU" sz="1100" dirty="0">
                  <a:solidFill>
                    <a:schemeClr val="tx2"/>
                  </a:solidFill>
                </a:rPr>
                <a:t>Моря </a:t>
              </a:r>
            </a:p>
            <a:p>
              <a:pPr algn="ctr">
                <a:lnSpc>
                  <a:spcPts val="1100"/>
                </a:lnSpc>
              </a:pPr>
              <a:r>
                <a:rPr lang="ru-RU" sz="1100" dirty="0">
                  <a:solidFill>
                    <a:schemeClr val="tx2"/>
                  </a:solidFill>
                </a:rPr>
                <a:t>и океаны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0549288B-69B3-48DC-95BD-46E804378B85}"/>
                </a:ext>
              </a:extLst>
            </p:cNvPr>
            <p:cNvSpPr txBox="1"/>
            <p:nvPr/>
          </p:nvSpPr>
          <p:spPr>
            <a:xfrm>
              <a:off x="1696265" y="2631491"/>
              <a:ext cx="1995604" cy="233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ru-RU" sz="1100" b="1" dirty="0">
                  <a:solidFill>
                    <a:schemeClr val="accent4"/>
                  </a:solidFill>
                </a:rPr>
                <a:t>Наземная сеть LPWA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F463FA8D-19C0-42FE-8F2D-8F0D5E242796}"/>
                </a:ext>
              </a:extLst>
            </p:cNvPr>
            <p:cNvSpPr txBox="1"/>
            <p:nvPr/>
          </p:nvSpPr>
          <p:spPr>
            <a:xfrm>
              <a:off x="2948268" y="2852936"/>
              <a:ext cx="1995604" cy="3744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ru-RU" sz="1100" b="1" dirty="0">
                  <a:solidFill>
                    <a:schemeClr val="accent4"/>
                  </a:solidFill>
                </a:rPr>
                <a:t>Централизация </a:t>
              </a:r>
            </a:p>
            <a:p>
              <a:pPr algn="ctr">
                <a:lnSpc>
                  <a:spcPts val="1100"/>
                </a:lnSpc>
              </a:pPr>
              <a:r>
                <a:rPr lang="ru-RU" sz="1100" b="1" dirty="0">
                  <a:solidFill>
                    <a:schemeClr val="accent4"/>
                  </a:solidFill>
                </a:rPr>
                <a:t>данных</a:t>
              </a:r>
            </a:p>
          </p:txBody>
        </p: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1D2D7D9E-CB40-4D73-AFC0-40EC21605B51}"/>
                </a:ext>
              </a:extLst>
            </p:cNvPr>
            <p:cNvCxnSpPr>
              <a:endCxn id="222" idx="0"/>
            </p:cNvCxnSpPr>
            <p:nvPr/>
          </p:nvCxnSpPr>
          <p:spPr>
            <a:xfrm flipH="1">
              <a:off x="3946070" y="2503702"/>
              <a:ext cx="316936" cy="349234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arrow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Arrow Connector 224">
              <a:extLst>
                <a:ext uri="{FF2B5EF4-FFF2-40B4-BE49-F238E27FC236}">
                  <a16:creationId xmlns:a16="http://schemas.microsoft.com/office/drawing/2014/main" id="{3B026E19-C782-4B3C-B349-C666A921664D}"/>
                </a:ext>
              </a:extLst>
            </p:cNvPr>
            <p:cNvCxnSpPr>
              <a:cxnSpLocks/>
            </p:cNvCxnSpPr>
            <p:nvPr/>
          </p:nvCxnSpPr>
          <p:spPr>
            <a:xfrm>
              <a:off x="4869057" y="2744765"/>
              <a:ext cx="886566" cy="1369256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arrow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Arrow Connector 226">
              <a:extLst>
                <a:ext uri="{FF2B5EF4-FFF2-40B4-BE49-F238E27FC236}">
                  <a16:creationId xmlns:a16="http://schemas.microsoft.com/office/drawing/2014/main" id="{E1D85339-77C2-4BFB-9C51-F8A990BD23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13002" y="2838453"/>
              <a:ext cx="18660" cy="785789"/>
            </a:xfrm>
            <a:prstGeom prst="straightConnector1">
              <a:avLst/>
            </a:prstGeom>
            <a:ln w="19050">
              <a:solidFill>
                <a:schemeClr val="accent4"/>
              </a:solidFill>
              <a:tailEnd type="arrow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4E6A0BE-E477-4E5E-86B1-9DC96074C86C}"/>
                </a:ext>
              </a:extLst>
            </p:cNvPr>
            <p:cNvSpPr/>
            <p:nvPr/>
          </p:nvSpPr>
          <p:spPr>
            <a:xfrm>
              <a:off x="2508161" y="3406462"/>
              <a:ext cx="1307205" cy="679649"/>
            </a:xfrm>
            <a:custGeom>
              <a:avLst/>
              <a:gdLst>
                <a:gd name="connsiteX0" fmla="*/ 0 w 1307205"/>
                <a:gd name="connsiteY0" fmla="*/ 0 h 418563"/>
                <a:gd name="connsiteX1" fmla="*/ 0 w 1307205"/>
                <a:gd name="connsiteY1" fmla="*/ 418563 h 418563"/>
                <a:gd name="connsiteX2" fmla="*/ 1307205 w 1307205"/>
                <a:gd name="connsiteY2" fmla="*/ 418563 h 418563"/>
                <a:gd name="connsiteX3" fmla="*/ 1307205 w 1307205"/>
                <a:gd name="connsiteY3" fmla="*/ 270456 h 418563"/>
                <a:gd name="connsiteX0" fmla="*/ 0 w 1307205"/>
                <a:gd name="connsiteY0" fmla="*/ 0 h 418563"/>
                <a:gd name="connsiteX1" fmla="*/ 0 w 1307205"/>
                <a:gd name="connsiteY1" fmla="*/ 418563 h 418563"/>
                <a:gd name="connsiteX2" fmla="*/ 1307205 w 1307205"/>
                <a:gd name="connsiteY2" fmla="*/ 418563 h 418563"/>
                <a:gd name="connsiteX3" fmla="*/ 1300765 w 1307205"/>
                <a:gd name="connsiteY3" fmla="*/ 143553 h 418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7205" h="418563">
                  <a:moveTo>
                    <a:pt x="0" y="0"/>
                  </a:moveTo>
                  <a:lnTo>
                    <a:pt x="0" y="418563"/>
                  </a:lnTo>
                  <a:lnTo>
                    <a:pt x="1307205" y="418563"/>
                  </a:lnTo>
                  <a:cubicBezTo>
                    <a:pt x="1307205" y="369194"/>
                    <a:pt x="1300765" y="192922"/>
                    <a:pt x="1300765" y="143553"/>
                  </a:cubicBezTo>
                </a:path>
              </a:pathLst>
            </a:custGeom>
            <a:ln w="19050">
              <a:solidFill>
                <a:schemeClr val="accent4"/>
              </a:solidFill>
              <a:tailEnd type="arrow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234" name="Straight Arrow Connector 233">
              <a:extLst>
                <a:ext uri="{FF2B5EF4-FFF2-40B4-BE49-F238E27FC236}">
                  <a16:creationId xmlns:a16="http://schemas.microsoft.com/office/drawing/2014/main" id="{599C6349-9ABC-4F39-A418-030E48FAF21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02737" y="2663223"/>
              <a:ext cx="927072" cy="350058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Arrow Connector 235">
              <a:extLst>
                <a:ext uri="{FF2B5EF4-FFF2-40B4-BE49-F238E27FC236}">
                  <a16:creationId xmlns:a16="http://schemas.microsoft.com/office/drawing/2014/main" id="{8564647D-C82F-49FC-837D-B54110B3E73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60980" y="2878125"/>
              <a:ext cx="848159" cy="131836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Arrow Connector 237">
              <a:extLst>
                <a:ext uri="{FF2B5EF4-FFF2-40B4-BE49-F238E27FC236}">
                  <a16:creationId xmlns:a16="http://schemas.microsoft.com/office/drawing/2014/main" id="{48209104-0EE3-4694-A6CB-83741C43AD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65993" y="3009961"/>
              <a:ext cx="754607" cy="116884"/>
            </a:xfrm>
            <a:prstGeom prst="straightConnector1">
              <a:avLst/>
            </a:prstGeom>
            <a:ln w="12700">
              <a:solidFill>
                <a:schemeClr val="accent4"/>
              </a:solidFill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4" name="Graphic 121">
              <a:extLst>
                <a:ext uri="{FF2B5EF4-FFF2-40B4-BE49-F238E27FC236}">
                  <a16:creationId xmlns:a16="http://schemas.microsoft.com/office/drawing/2014/main" id="{4370507A-F682-425B-9AA4-F5D1CF146FD3}"/>
                </a:ext>
              </a:extLst>
            </p:cNvPr>
            <p:cNvGrpSpPr/>
            <p:nvPr/>
          </p:nvGrpSpPr>
          <p:grpSpPr>
            <a:xfrm>
              <a:off x="581826" y="2583099"/>
              <a:ext cx="702742" cy="702742"/>
              <a:chOff x="3733800" y="1066800"/>
              <a:chExt cx="4724400" cy="4724400"/>
            </a:xfrm>
            <a:solidFill>
              <a:schemeClr val="tx2"/>
            </a:solidFill>
          </p:grpSpPr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38260AE4-EF46-4C40-87D0-4B9F788CDEB8}"/>
                  </a:ext>
                </a:extLst>
              </p:cNvPr>
              <p:cNvSpPr/>
              <p:nvPr/>
            </p:nvSpPr>
            <p:spPr>
              <a:xfrm>
                <a:off x="6781800" y="4876800"/>
                <a:ext cx="152400" cy="609600"/>
              </a:xfrm>
              <a:custGeom>
                <a:avLst/>
                <a:gdLst>
                  <a:gd name="connsiteX0" fmla="*/ 0 w 152400"/>
                  <a:gd name="connsiteY0" fmla="*/ 0 h 609600"/>
                  <a:gd name="connsiteX1" fmla="*/ 152400 w 152400"/>
                  <a:gd name="connsiteY1" fmla="*/ 0 h 609600"/>
                  <a:gd name="connsiteX2" fmla="*/ 152400 w 152400"/>
                  <a:gd name="connsiteY2" fmla="*/ 609600 h 609600"/>
                  <a:gd name="connsiteX3" fmla="*/ 0 w 152400"/>
                  <a:gd name="connsiteY3" fmla="*/ 609600 h 60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6096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609600"/>
                    </a:lnTo>
                    <a:lnTo>
                      <a:pt x="0" y="6096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96FD2B89-8306-40EE-A821-F9A2F529195F}"/>
                  </a:ext>
                </a:extLst>
              </p:cNvPr>
              <p:cNvSpPr/>
              <p:nvPr/>
            </p:nvSpPr>
            <p:spPr>
              <a:xfrm>
                <a:off x="7086600" y="4876800"/>
                <a:ext cx="152400" cy="609600"/>
              </a:xfrm>
              <a:custGeom>
                <a:avLst/>
                <a:gdLst>
                  <a:gd name="connsiteX0" fmla="*/ 0 w 152400"/>
                  <a:gd name="connsiteY0" fmla="*/ 0 h 609600"/>
                  <a:gd name="connsiteX1" fmla="*/ 152400 w 152400"/>
                  <a:gd name="connsiteY1" fmla="*/ 0 h 609600"/>
                  <a:gd name="connsiteX2" fmla="*/ 152400 w 152400"/>
                  <a:gd name="connsiteY2" fmla="*/ 609600 h 609600"/>
                  <a:gd name="connsiteX3" fmla="*/ 0 w 152400"/>
                  <a:gd name="connsiteY3" fmla="*/ 609600 h 60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6096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609600"/>
                    </a:lnTo>
                    <a:lnTo>
                      <a:pt x="0" y="6096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C158CE4B-1C73-4CBB-8D4F-2922FC891EF4}"/>
                  </a:ext>
                </a:extLst>
              </p:cNvPr>
              <p:cNvSpPr/>
              <p:nvPr/>
            </p:nvSpPr>
            <p:spPr>
              <a:xfrm>
                <a:off x="3733800" y="1066800"/>
                <a:ext cx="4724400" cy="4724400"/>
              </a:xfrm>
              <a:custGeom>
                <a:avLst/>
                <a:gdLst>
                  <a:gd name="connsiteX0" fmla="*/ 4114800 w 4724400"/>
                  <a:gd name="connsiteY0" fmla="*/ 2666238 h 4724400"/>
                  <a:gd name="connsiteX1" fmla="*/ 4114800 w 4724400"/>
                  <a:gd name="connsiteY1" fmla="*/ 1066800 h 4724400"/>
                  <a:gd name="connsiteX2" fmla="*/ 3962400 w 4724400"/>
                  <a:gd name="connsiteY2" fmla="*/ 1066800 h 4724400"/>
                  <a:gd name="connsiteX3" fmla="*/ 3962400 w 4724400"/>
                  <a:gd name="connsiteY3" fmla="*/ 291008 h 4724400"/>
                  <a:gd name="connsiteX4" fmla="*/ 3810000 w 4724400"/>
                  <a:gd name="connsiteY4" fmla="*/ 316382 h 4724400"/>
                  <a:gd name="connsiteX5" fmla="*/ 3810000 w 4724400"/>
                  <a:gd name="connsiteY5" fmla="*/ 152400 h 4724400"/>
                  <a:gd name="connsiteX6" fmla="*/ 3657600 w 4724400"/>
                  <a:gd name="connsiteY6" fmla="*/ 152400 h 4724400"/>
                  <a:gd name="connsiteX7" fmla="*/ 3657600 w 4724400"/>
                  <a:gd name="connsiteY7" fmla="*/ 341833 h 4724400"/>
                  <a:gd name="connsiteX8" fmla="*/ 3505200 w 4724400"/>
                  <a:gd name="connsiteY8" fmla="*/ 367208 h 4724400"/>
                  <a:gd name="connsiteX9" fmla="*/ 3505200 w 4724400"/>
                  <a:gd name="connsiteY9" fmla="*/ 0 h 4724400"/>
                  <a:gd name="connsiteX10" fmla="*/ 3352800 w 4724400"/>
                  <a:gd name="connsiteY10" fmla="*/ 0 h 4724400"/>
                  <a:gd name="connsiteX11" fmla="*/ 3352800 w 4724400"/>
                  <a:gd name="connsiteY11" fmla="*/ 392659 h 4724400"/>
                  <a:gd name="connsiteX12" fmla="*/ 3200400 w 4724400"/>
                  <a:gd name="connsiteY12" fmla="*/ 418033 h 4724400"/>
                  <a:gd name="connsiteX13" fmla="*/ 3200400 w 4724400"/>
                  <a:gd name="connsiteY13" fmla="*/ 152400 h 4724400"/>
                  <a:gd name="connsiteX14" fmla="*/ 3048000 w 4724400"/>
                  <a:gd name="connsiteY14" fmla="*/ 152400 h 4724400"/>
                  <a:gd name="connsiteX15" fmla="*/ 3048000 w 4724400"/>
                  <a:gd name="connsiteY15" fmla="*/ 443408 h 4724400"/>
                  <a:gd name="connsiteX16" fmla="*/ 2895600 w 4724400"/>
                  <a:gd name="connsiteY16" fmla="*/ 468782 h 4724400"/>
                  <a:gd name="connsiteX17" fmla="*/ 2895600 w 4724400"/>
                  <a:gd name="connsiteY17" fmla="*/ 1066800 h 4724400"/>
                  <a:gd name="connsiteX18" fmla="*/ 2743200 w 4724400"/>
                  <a:gd name="connsiteY18" fmla="*/ 1066800 h 4724400"/>
                  <a:gd name="connsiteX19" fmla="*/ 2743200 w 4724400"/>
                  <a:gd name="connsiteY19" fmla="*/ 1828800 h 4724400"/>
                  <a:gd name="connsiteX20" fmla="*/ 2133600 w 4724400"/>
                  <a:gd name="connsiteY20" fmla="*/ 1828800 h 4724400"/>
                  <a:gd name="connsiteX21" fmla="*/ 2133600 w 4724400"/>
                  <a:gd name="connsiteY21" fmla="*/ 762000 h 4724400"/>
                  <a:gd name="connsiteX22" fmla="*/ 1828800 w 4724400"/>
                  <a:gd name="connsiteY22" fmla="*/ 762000 h 4724400"/>
                  <a:gd name="connsiteX23" fmla="*/ 1828800 w 4724400"/>
                  <a:gd name="connsiteY23" fmla="*/ 304800 h 4724400"/>
                  <a:gd name="connsiteX24" fmla="*/ 1676400 w 4724400"/>
                  <a:gd name="connsiteY24" fmla="*/ 304800 h 4724400"/>
                  <a:gd name="connsiteX25" fmla="*/ 1676400 w 4724400"/>
                  <a:gd name="connsiteY25" fmla="*/ 0 h 4724400"/>
                  <a:gd name="connsiteX26" fmla="*/ 914400 w 4724400"/>
                  <a:gd name="connsiteY26" fmla="*/ 0 h 4724400"/>
                  <a:gd name="connsiteX27" fmla="*/ 914400 w 4724400"/>
                  <a:gd name="connsiteY27" fmla="*/ 304800 h 4724400"/>
                  <a:gd name="connsiteX28" fmla="*/ 762000 w 4724400"/>
                  <a:gd name="connsiteY28" fmla="*/ 304800 h 4724400"/>
                  <a:gd name="connsiteX29" fmla="*/ 762000 w 4724400"/>
                  <a:gd name="connsiteY29" fmla="*/ 762000 h 4724400"/>
                  <a:gd name="connsiteX30" fmla="*/ 457200 w 4724400"/>
                  <a:gd name="connsiteY30" fmla="*/ 762000 h 4724400"/>
                  <a:gd name="connsiteX31" fmla="*/ 457200 w 4724400"/>
                  <a:gd name="connsiteY31" fmla="*/ 2185797 h 4724400"/>
                  <a:gd name="connsiteX32" fmla="*/ 158496 w 4724400"/>
                  <a:gd name="connsiteY32" fmla="*/ 2590800 h 4724400"/>
                  <a:gd name="connsiteX33" fmla="*/ 0 w 4724400"/>
                  <a:gd name="connsiteY33" fmla="*/ 2590800 h 4724400"/>
                  <a:gd name="connsiteX34" fmla="*/ 0 w 4724400"/>
                  <a:gd name="connsiteY34" fmla="*/ 4724400 h 4724400"/>
                  <a:gd name="connsiteX35" fmla="*/ 4724400 w 4724400"/>
                  <a:gd name="connsiteY35" fmla="*/ 4724400 h 4724400"/>
                  <a:gd name="connsiteX36" fmla="*/ 4724400 w 4724400"/>
                  <a:gd name="connsiteY36" fmla="*/ 2579142 h 4724400"/>
                  <a:gd name="connsiteX37" fmla="*/ 3048000 w 4724400"/>
                  <a:gd name="connsiteY37" fmla="*/ 597941 h 4724400"/>
                  <a:gd name="connsiteX38" fmla="*/ 3810000 w 4724400"/>
                  <a:gd name="connsiteY38" fmla="*/ 470916 h 4724400"/>
                  <a:gd name="connsiteX39" fmla="*/ 3810000 w 4724400"/>
                  <a:gd name="connsiteY39" fmla="*/ 1066800 h 4724400"/>
                  <a:gd name="connsiteX40" fmla="*/ 3048000 w 4724400"/>
                  <a:gd name="connsiteY40" fmla="*/ 1066800 h 4724400"/>
                  <a:gd name="connsiteX41" fmla="*/ 2895600 w 4724400"/>
                  <a:gd name="connsiteY41" fmla="*/ 1219200 h 4724400"/>
                  <a:gd name="connsiteX42" fmla="*/ 3962400 w 4724400"/>
                  <a:gd name="connsiteY42" fmla="*/ 1219200 h 4724400"/>
                  <a:gd name="connsiteX43" fmla="*/ 3962400 w 4724400"/>
                  <a:gd name="connsiteY43" fmla="*/ 2688031 h 4724400"/>
                  <a:gd name="connsiteX44" fmla="*/ 3505200 w 4724400"/>
                  <a:gd name="connsiteY44" fmla="*/ 2753335 h 4724400"/>
                  <a:gd name="connsiteX45" fmla="*/ 3505200 w 4724400"/>
                  <a:gd name="connsiteY45" fmla="*/ 3149651 h 4724400"/>
                  <a:gd name="connsiteX46" fmla="*/ 3276600 w 4724400"/>
                  <a:gd name="connsiteY46" fmla="*/ 2844851 h 4724400"/>
                  <a:gd name="connsiteX47" fmla="*/ 3048000 w 4724400"/>
                  <a:gd name="connsiteY47" fmla="*/ 3149651 h 4724400"/>
                  <a:gd name="connsiteX48" fmla="*/ 3048000 w 4724400"/>
                  <a:gd name="connsiteY48" fmla="*/ 1828800 h 4724400"/>
                  <a:gd name="connsiteX49" fmla="*/ 2895600 w 4724400"/>
                  <a:gd name="connsiteY49" fmla="*/ 1828800 h 4724400"/>
                  <a:gd name="connsiteX50" fmla="*/ 2895600 w 4724400"/>
                  <a:gd name="connsiteY50" fmla="*/ 2133600 h 4724400"/>
                  <a:gd name="connsiteX51" fmla="*/ 1828800 w 4724400"/>
                  <a:gd name="connsiteY51" fmla="*/ 2133600 h 4724400"/>
                  <a:gd name="connsiteX52" fmla="*/ 1828800 w 4724400"/>
                  <a:gd name="connsiteY52" fmla="*/ 1981200 h 4724400"/>
                  <a:gd name="connsiteX53" fmla="*/ 2895600 w 4724400"/>
                  <a:gd name="connsiteY53" fmla="*/ 1981200 h 4724400"/>
                  <a:gd name="connsiteX54" fmla="*/ 2895600 w 4724400"/>
                  <a:gd name="connsiteY54" fmla="*/ 3657600 h 4724400"/>
                  <a:gd name="connsiteX55" fmla="*/ 3657600 w 4724400"/>
                  <a:gd name="connsiteY55" fmla="*/ 3657600 h 4724400"/>
                  <a:gd name="connsiteX56" fmla="*/ 3657600 w 4724400"/>
                  <a:gd name="connsiteY56" fmla="*/ 4572000 h 4724400"/>
                  <a:gd name="connsiteX57" fmla="*/ 2895600 w 4724400"/>
                  <a:gd name="connsiteY57" fmla="*/ 4572000 h 4724400"/>
                  <a:gd name="connsiteX58" fmla="*/ 2971800 w 4724400"/>
                  <a:gd name="connsiteY58" fmla="*/ 3505200 h 4724400"/>
                  <a:gd name="connsiteX59" fmla="*/ 3276600 w 4724400"/>
                  <a:gd name="connsiteY59" fmla="*/ 3098826 h 4724400"/>
                  <a:gd name="connsiteX60" fmla="*/ 3581400 w 4724400"/>
                  <a:gd name="connsiteY60" fmla="*/ 3505200 h 4724400"/>
                  <a:gd name="connsiteX61" fmla="*/ 1066800 w 4724400"/>
                  <a:gd name="connsiteY61" fmla="*/ 152400 h 4724400"/>
                  <a:gd name="connsiteX62" fmla="*/ 1524000 w 4724400"/>
                  <a:gd name="connsiteY62" fmla="*/ 152400 h 4724400"/>
                  <a:gd name="connsiteX63" fmla="*/ 1524000 w 4724400"/>
                  <a:gd name="connsiteY63" fmla="*/ 304800 h 4724400"/>
                  <a:gd name="connsiteX64" fmla="*/ 1066800 w 4724400"/>
                  <a:gd name="connsiteY64" fmla="*/ 304800 h 4724400"/>
                  <a:gd name="connsiteX65" fmla="*/ 914400 w 4724400"/>
                  <a:gd name="connsiteY65" fmla="*/ 457200 h 4724400"/>
                  <a:gd name="connsiteX66" fmla="*/ 1676400 w 4724400"/>
                  <a:gd name="connsiteY66" fmla="*/ 457200 h 4724400"/>
                  <a:gd name="connsiteX67" fmla="*/ 1676400 w 4724400"/>
                  <a:gd name="connsiteY67" fmla="*/ 762000 h 4724400"/>
                  <a:gd name="connsiteX68" fmla="*/ 914400 w 4724400"/>
                  <a:gd name="connsiteY68" fmla="*/ 762000 h 4724400"/>
                  <a:gd name="connsiteX69" fmla="*/ 609600 w 4724400"/>
                  <a:gd name="connsiteY69" fmla="*/ 914400 h 4724400"/>
                  <a:gd name="connsiteX70" fmla="*/ 1981200 w 4724400"/>
                  <a:gd name="connsiteY70" fmla="*/ 914400 h 4724400"/>
                  <a:gd name="connsiteX71" fmla="*/ 1981200 w 4724400"/>
                  <a:gd name="connsiteY71" fmla="*/ 1828800 h 4724400"/>
                  <a:gd name="connsiteX72" fmla="*/ 1676400 w 4724400"/>
                  <a:gd name="connsiteY72" fmla="*/ 1828800 h 4724400"/>
                  <a:gd name="connsiteX73" fmla="*/ 1676400 w 4724400"/>
                  <a:gd name="connsiteY73" fmla="*/ 2185797 h 4724400"/>
                  <a:gd name="connsiteX74" fmla="*/ 1447800 w 4724400"/>
                  <a:gd name="connsiteY74" fmla="*/ 2133600 h 4724400"/>
                  <a:gd name="connsiteX75" fmla="*/ 685800 w 4724400"/>
                  <a:gd name="connsiteY75" fmla="*/ 2133600 h 4724400"/>
                  <a:gd name="connsiteX76" fmla="*/ 609600 w 4724400"/>
                  <a:gd name="connsiteY76" fmla="*/ 2139696 h 4724400"/>
                  <a:gd name="connsiteX77" fmla="*/ 685800 w 4724400"/>
                  <a:gd name="connsiteY77" fmla="*/ 2286000 h 4724400"/>
                  <a:gd name="connsiteX78" fmla="*/ 1447800 w 4724400"/>
                  <a:gd name="connsiteY78" fmla="*/ 2286000 h 4724400"/>
                  <a:gd name="connsiteX79" fmla="*/ 1821104 w 4724400"/>
                  <a:gd name="connsiteY79" fmla="*/ 2590800 h 4724400"/>
                  <a:gd name="connsiteX80" fmla="*/ 312496 w 4724400"/>
                  <a:gd name="connsiteY80" fmla="*/ 2590800 h 4724400"/>
                  <a:gd name="connsiteX81" fmla="*/ 685800 w 4724400"/>
                  <a:gd name="connsiteY81" fmla="*/ 2286000 h 4724400"/>
                  <a:gd name="connsiteX82" fmla="*/ 1981200 w 4724400"/>
                  <a:gd name="connsiteY82" fmla="*/ 2743200 h 4724400"/>
                  <a:gd name="connsiteX83" fmla="*/ 1981200 w 4724400"/>
                  <a:gd name="connsiteY83" fmla="*/ 2895600 h 4724400"/>
                  <a:gd name="connsiteX84" fmla="*/ 152400 w 4724400"/>
                  <a:gd name="connsiteY84" fmla="*/ 2895600 h 4724400"/>
                  <a:gd name="connsiteX85" fmla="*/ 152400 w 4724400"/>
                  <a:gd name="connsiteY85" fmla="*/ 2743200 h 4724400"/>
                  <a:gd name="connsiteX86" fmla="*/ 1676400 w 4724400"/>
                  <a:gd name="connsiteY86" fmla="*/ 4114800 h 4724400"/>
                  <a:gd name="connsiteX87" fmla="*/ 1371600 w 4724400"/>
                  <a:gd name="connsiteY87" fmla="*/ 4114800 h 4724400"/>
                  <a:gd name="connsiteX88" fmla="*/ 1371600 w 4724400"/>
                  <a:gd name="connsiteY88" fmla="*/ 3810000 h 4724400"/>
                  <a:gd name="connsiteX89" fmla="*/ 1676400 w 4724400"/>
                  <a:gd name="connsiteY89" fmla="*/ 3810000 h 4724400"/>
                  <a:gd name="connsiteX90" fmla="*/ 1219200 w 4724400"/>
                  <a:gd name="connsiteY90" fmla="*/ 4114800 h 4724400"/>
                  <a:gd name="connsiteX91" fmla="*/ 914400 w 4724400"/>
                  <a:gd name="connsiteY91" fmla="*/ 4114800 h 4724400"/>
                  <a:gd name="connsiteX92" fmla="*/ 914400 w 4724400"/>
                  <a:gd name="connsiteY92" fmla="*/ 3810000 h 4724400"/>
                  <a:gd name="connsiteX93" fmla="*/ 1219200 w 4724400"/>
                  <a:gd name="connsiteY93" fmla="*/ 3810000 h 4724400"/>
                  <a:gd name="connsiteX94" fmla="*/ 1219200 w 4724400"/>
                  <a:gd name="connsiteY94" fmla="*/ 4267200 h 4724400"/>
                  <a:gd name="connsiteX95" fmla="*/ 1219200 w 4724400"/>
                  <a:gd name="connsiteY95" fmla="*/ 4572000 h 4724400"/>
                  <a:gd name="connsiteX96" fmla="*/ 914400 w 4724400"/>
                  <a:gd name="connsiteY96" fmla="*/ 4572000 h 4724400"/>
                  <a:gd name="connsiteX97" fmla="*/ 914400 w 4724400"/>
                  <a:gd name="connsiteY97" fmla="*/ 4267200 h 4724400"/>
                  <a:gd name="connsiteX98" fmla="*/ 1371600 w 4724400"/>
                  <a:gd name="connsiteY98" fmla="*/ 4267200 h 4724400"/>
                  <a:gd name="connsiteX99" fmla="*/ 1676400 w 4724400"/>
                  <a:gd name="connsiteY99" fmla="*/ 4267200 h 4724400"/>
                  <a:gd name="connsiteX100" fmla="*/ 1676400 w 4724400"/>
                  <a:gd name="connsiteY100" fmla="*/ 4572000 h 4724400"/>
                  <a:gd name="connsiteX101" fmla="*/ 1371600 w 4724400"/>
                  <a:gd name="connsiteY101" fmla="*/ 4572000 h 4724400"/>
                  <a:gd name="connsiteX102" fmla="*/ 1676400 w 4724400"/>
                  <a:gd name="connsiteY102" fmla="*/ 3657600 h 4724400"/>
                  <a:gd name="connsiteX103" fmla="*/ 1371600 w 4724400"/>
                  <a:gd name="connsiteY103" fmla="*/ 3657600 h 4724400"/>
                  <a:gd name="connsiteX104" fmla="*/ 1371600 w 4724400"/>
                  <a:gd name="connsiteY104" fmla="*/ 3352800 h 4724400"/>
                  <a:gd name="connsiteX105" fmla="*/ 1676400 w 4724400"/>
                  <a:gd name="connsiteY105" fmla="*/ 3352800 h 4724400"/>
                  <a:gd name="connsiteX106" fmla="*/ 1219200 w 4724400"/>
                  <a:gd name="connsiteY106" fmla="*/ 3657600 h 4724400"/>
                  <a:gd name="connsiteX107" fmla="*/ 914400 w 4724400"/>
                  <a:gd name="connsiteY107" fmla="*/ 3657600 h 4724400"/>
                  <a:gd name="connsiteX108" fmla="*/ 914400 w 4724400"/>
                  <a:gd name="connsiteY108" fmla="*/ 3352800 h 4724400"/>
                  <a:gd name="connsiteX109" fmla="*/ 1219200 w 4724400"/>
                  <a:gd name="connsiteY109" fmla="*/ 3352800 h 4724400"/>
                  <a:gd name="connsiteX110" fmla="*/ 762000 w 4724400"/>
                  <a:gd name="connsiteY110" fmla="*/ 3657600 h 4724400"/>
                  <a:gd name="connsiteX111" fmla="*/ 457200 w 4724400"/>
                  <a:gd name="connsiteY111" fmla="*/ 3657600 h 4724400"/>
                  <a:gd name="connsiteX112" fmla="*/ 457200 w 4724400"/>
                  <a:gd name="connsiteY112" fmla="*/ 3352800 h 4724400"/>
                  <a:gd name="connsiteX113" fmla="*/ 762000 w 4724400"/>
                  <a:gd name="connsiteY113" fmla="*/ 3352800 h 4724400"/>
                  <a:gd name="connsiteX114" fmla="*/ 457200 w 4724400"/>
                  <a:gd name="connsiteY114" fmla="*/ 3810000 h 4724400"/>
                  <a:gd name="connsiteX115" fmla="*/ 762000 w 4724400"/>
                  <a:gd name="connsiteY115" fmla="*/ 3810000 h 4724400"/>
                  <a:gd name="connsiteX116" fmla="*/ 762000 w 4724400"/>
                  <a:gd name="connsiteY116" fmla="*/ 4114800 h 4724400"/>
                  <a:gd name="connsiteX117" fmla="*/ 457200 w 4724400"/>
                  <a:gd name="connsiteY117" fmla="*/ 4114800 h 4724400"/>
                  <a:gd name="connsiteX118" fmla="*/ 457200 w 4724400"/>
                  <a:gd name="connsiteY118" fmla="*/ 4267200 h 4724400"/>
                  <a:gd name="connsiteX119" fmla="*/ 762000 w 4724400"/>
                  <a:gd name="connsiteY119" fmla="*/ 4267200 h 4724400"/>
                  <a:gd name="connsiteX120" fmla="*/ 762000 w 4724400"/>
                  <a:gd name="connsiteY120" fmla="*/ 4572000 h 4724400"/>
                  <a:gd name="connsiteX121" fmla="*/ 457200 w 4724400"/>
                  <a:gd name="connsiteY121" fmla="*/ 4572000 h 4724400"/>
                  <a:gd name="connsiteX122" fmla="*/ 1828800 w 4724400"/>
                  <a:gd name="connsiteY122" fmla="*/ 4572000 h 4724400"/>
                  <a:gd name="connsiteX123" fmla="*/ 1828800 w 4724400"/>
                  <a:gd name="connsiteY123" fmla="*/ 3200400 h 4724400"/>
                  <a:gd name="connsiteX124" fmla="*/ 304800 w 4724400"/>
                  <a:gd name="connsiteY124" fmla="*/ 3200400 h 4724400"/>
                  <a:gd name="connsiteX125" fmla="*/ 304800 w 4724400"/>
                  <a:gd name="connsiteY125" fmla="*/ 4572000 h 4724400"/>
                  <a:gd name="connsiteX126" fmla="*/ 152400 w 4724400"/>
                  <a:gd name="connsiteY126" fmla="*/ 4572000 h 4724400"/>
                  <a:gd name="connsiteX127" fmla="*/ 152400 w 4724400"/>
                  <a:gd name="connsiteY127" fmla="*/ 3048000 h 4724400"/>
                  <a:gd name="connsiteX128" fmla="*/ 1981200 w 4724400"/>
                  <a:gd name="connsiteY128" fmla="*/ 3048000 h 4724400"/>
                  <a:gd name="connsiteX129" fmla="*/ 1981200 w 4724400"/>
                  <a:gd name="connsiteY129" fmla="*/ 4572000 h 4724400"/>
                  <a:gd name="connsiteX130" fmla="*/ 1975104 w 4724400"/>
                  <a:gd name="connsiteY130" fmla="*/ 2590800 h 4724400"/>
                  <a:gd name="connsiteX131" fmla="*/ 1828800 w 4724400"/>
                  <a:gd name="connsiteY131" fmla="*/ 2294458 h 4724400"/>
                  <a:gd name="connsiteX132" fmla="*/ 1828800 w 4724400"/>
                  <a:gd name="connsiteY132" fmla="*/ 2286000 h 4724400"/>
                  <a:gd name="connsiteX133" fmla="*/ 2895600 w 4724400"/>
                  <a:gd name="connsiteY133" fmla="*/ 2286000 h 4724400"/>
                  <a:gd name="connsiteX134" fmla="*/ 2895600 w 4724400"/>
                  <a:gd name="connsiteY134" fmla="*/ 3352800 h 4724400"/>
                  <a:gd name="connsiteX135" fmla="*/ 2743200 w 4724400"/>
                  <a:gd name="connsiteY135" fmla="*/ 3556026 h 4724400"/>
                  <a:gd name="connsiteX136" fmla="*/ 2743200 w 4724400"/>
                  <a:gd name="connsiteY136" fmla="*/ 4572000 h 4724400"/>
                  <a:gd name="connsiteX137" fmla="*/ 2133600 w 4724400"/>
                  <a:gd name="connsiteY137" fmla="*/ 4572000 h 4724400"/>
                  <a:gd name="connsiteX138" fmla="*/ 2133600 w 4724400"/>
                  <a:gd name="connsiteY138" fmla="*/ 2590800 h 4724400"/>
                  <a:gd name="connsiteX139" fmla="*/ 4572000 w 4724400"/>
                  <a:gd name="connsiteY139" fmla="*/ 4572000 h 4724400"/>
                  <a:gd name="connsiteX140" fmla="*/ 3810000 w 4724400"/>
                  <a:gd name="connsiteY140" fmla="*/ 4572000 h 4724400"/>
                  <a:gd name="connsiteX141" fmla="*/ 3810000 w 4724400"/>
                  <a:gd name="connsiteY141" fmla="*/ 3556026 h 4724400"/>
                  <a:gd name="connsiteX142" fmla="*/ 3657600 w 4724400"/>
                  <a:gd name="connsiteY142" fmla="*/ 3352800 h 4724400"/>
                  <a:gd name="connsiteX143" fmla="*/ 3657600 w 4724400"/>
                  <a:gd name="connsiteY143" fmla="*/ 2885466 h 4724400"/>
                  <a:gd name="connsiteX144" fmla="*/ 4572000 w 4724400"/>
                  <a:gd name="connsiteY144" fmla="*/ 2754859 h 472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4724400" h="4724400">
                    <a:moveTo>
                      <a:pt x="4114800" y="2666238"/>
                    </a:moveTo>
                    <a:lnTo>
                      <a:pt x="4114800" y="1066800"/>
                    </a:lnTo>
                    <a:lnTo>
                      <a:pt x="3962400" y="1066800"/>
                    </a:lnTo>
                    <a:lnTo>
                      <a:pt x="3962400" y="291008"/>
                    </a:lnTo>
                    <a:lnTo>
                      <a:pt x="3810000" y="316382"/>
                    </a:lnTo>
                    <a:lnTo>
                      <a:pt x="3810000" y="152400"/>
                    </a:lnTo>
                    <a:lnTo>
                      <a:pt x="3657600" y="152400"/>
                    </a:lnTo>
                    <a:lnTo>
                      <a:pt x="3657600" y="341833"/>
                    </a:lnTo>
                    <a:lnTo>
                      <a:pt x="3505200" y="367208"/>
                    </a:lnTo>
                    <a:lnTo>
                      <a:pt x="3505200" y="0"/>
                    </a:lnTo>
                    <a:lnTo>
                      <a:pt x="3352800" y="0"/>
                    </a:lnTo>
                    <a:lnTo>
                      <a:pt x="3352800" y="392659"/>
                    </a:lnTo>
                    <a:lnTo>
                      <a:pt x="3200400" y="418033"/>
                    </a:lnTo>
                    <a:lnTo>
                      <a:pt x="3200400" y="152400"/>
                    </a:lnTo>
                    <a:lnTo>
                      <a:pt x="3048000" y="152400"/>
                    </a:lnTo>
                    <a:lnTo>
                      <a:pt x="3048000" y="443408"/>
                    </a:lnTo>
                    <a:lnTo>
                      <a:pt x="2895600" y="468782"/>
                    </a:lnTo>
                    <a:lnTo>
                      <a:pt x="2895600" y="1066800"/>
                    </a:lnTo>
                    <a:lnTo>
                      <a:pt x="2743200" y="1066800"/>
                    </a:lnTo>
                    <a:lnTo>
                      <a:pt x="2743200" y="1828800"/>
                    </a:lnTo>
                    <a:lnTo>
                      <a:pt x="2133600" y="1828800"/>
                    </a:lnTo>
                    <a:lnTo>
                      <a:pt x="2133600" y="762000"/>
                    </a:lnTo>
                    <a:lnTo>
                      <a:pt x="1828800" y="762000"/>
                    </a:lnTo>
                    <a:lnTo>
                      <a:pt x="1828800" y="304800"/>
                    </a:lnTo>
                    <a:lnTo>
                      <a:pt x="1676400" y="304800"/>
                    </a:lnTo>
                    <a:lnTo>
                      <a:pt x="1676400" y="0"/>
                    </a:lnTo>
                    <a:lnTo>
                      <a:pt x="914400" y="0"/>
                    </a:lnTo>
                    <a:lnTo>
                      <a:pt x="914400" y="304800"/>
                    </a:lnTo>
                    <a:lnTo>
                      <a:pt x="762000" y="304800"/>
                    </a:lnTo>
                    <a:lnTo>
                      <a:pt x="762000" y="762000"/>
                    </a:lnTo>
                    <a:lnTo>
                      <a:pt x="457200" y="762000"/>
                    </a:lnTo>
                    <a:lnTo>
                      <a:pt x="457200" y="2185797"/>
                    </a:lnTo>
                    <a:cubicBezTo>
                      <a:pt x="299314" y="2261159"/>
                      <a:pt x="184328" y="2411501"/>
                      <a:pt x="158496" y="2590800"/>
                    </a:cubicBezTo>
                    <a:lnTo>
                      <a:pt x="0" y="2590800"/>
                    </a:lnTo>
                    <a:lnTo>
                      <a:pt x="0" y="4724400"/>
                    </a:lnTo>
                    <a:lnTo>
                      <a:pt x="4724400" y="4724400"/>
                    </a:lnTo>
                    <a:lnTo>
                      <a:pt x="4724400" y="2579142"/>
                    </a:lnTo>
                    <a:close/>
                    <a:moveTo>
                      <a:pt x="3048000" y="597941"/>
                    </a:moveTo>
                    <a:lnTo>
                      <a:pt x="3810000" y="470916"/>
                    </a:lnTo>
                    <a:lnTo>
                      <a:pt x="3810000" y="1066800"/>
                    </a:lnTo>
                    <a:lnTo>
                      <a:pt x="3048000" y="1066800"/>
                    </a:lnTo>
                    <a:close/>
                    <a:moveTo>
                      <a:pt x="2895600" y="1219200"/>
                    </a:moveTo>
                    <a:lnTo>
                      <a:pt x="3962400" y="1219200"/>
                    </a:lnTo>
                    <a:lnTo>
                      <a:pt x="3962400" y="2688031"/>
                    </a:lnTo>
                    <a:lnTo>
                      <a:pt x="3505200" y="2753335"/>
                    </a:lnTo>
                    <a:lnTo>
                      <a:pt x="3505200" y="3149651"/>
                    </a:lnTo>
                    <a:lnTo>
                      <a:pt x="3276600" y="2844851"/>
                    </a:lnTo>
                    <a:lnTo>
                      <a:pt x="3048000" y="3149651"/>
                    </a:lnTo>
                    <a:lnTo>
                      <a:pt x="3048000" y="1828800"/>
                    </a:lnTo>
                    <a:lnTo>
                      <a:pt x="2895600" y="1828800"/>
                    </a:lnTo>
                    <a:close/>
                    <a:moveTo>
                      <a:pt x="2895600" y="2133600"/>
                    </a:moveTo>
                    <a:lnTo>
                      <a:pt x="1828800" y="2133600"/>
                    </a:lnTo>
                    <a:lnTo>
                      <a:pt x="1828800" y="1981200"/>
                    </a:lnTo>
                    <a:lnTo>
                      <a:pt x="2895600" y="1981200"/>
                    </a:lnTo>
                    <a:close/>
                    <a:moveTo>
                      <a:pt x="2895600" y="3657600"/>
                    </a:moveTo>
                    <a:lnTo>
                      <a:pt x="3657600" y="3657600"/>
                    </a:lnTo>
                    <a:lnTo>
                      <a:pt x="3657600" y="4572000"/>
                    </a:lnTo>
                    <a:lnTo>
                      <a:pt x="2895600" y="4572000"/>
                    </a:lnTo>
                    <a:close/>
                    <a:moveTo>
                      <a:pt x="2971800" y="3505200"/>
                    </a:moveTo>
                    <a:lnTo>
                      <a:pt x="3276600" y="3098826"/>
                    </a:lnTo>
                    <a:lnTo>
                      <a:pt x="3581400" y="3505200"/>
                    </a:lnTo>
                    <a:close/>
                    <a:moveTo>
                      <a:pt x="1066800" y="152400"/>
                    </a:moveTo>
                    <a:lnTo>
                      <a:pt x="1524000" y="152400"/>
                    </a:lnTo>
                    <a:lnTo>
                      <a:pt x="1524000" y="304800"/>
                    </a:lnTo>
                    <a:lnTo>
                      <a:pt x="1066800" y="304800"/>
                    </a:lnTo>
                    <a:close/>
                    <a:moveTo>
                      <a:pt x="914400" y="457200"/>
                    </a:moveTo>
                    <a:lnTo>
                      <a:pt x="1676400" y="457200"/>
                    </a:lnTo>
                    <a:lnTo>
                      <a:pt x="1676400" y="762000"/>
                    </a:lnTo>
                    <a:lnTo>
                      <a:pt x="914400" y="762000"/>
                    </a:lnTo>
                    <a:close/>
                    <a:moveTo>
                      <a:pt x="609600" y="914400"/>
                    </a:moveTo>
                    <a:lnTo>
                      <a:pt x="1981200" y="914400"/>
                    </a:lnTo>
                    <a:lnTo>
                      <a:pt x="1981200" y="1828800"/>
                    </a:lnTo>
                    <a:lnTo>
                      <a:pt x="1676400" y="1828800"/>
                    </a:lnTo>
                    <a:lnTo>
                      <a:pt x="1676400" y="2185797"/>
                    </a:lnTo>
                    <a:cubicBezTo>
                      <a:pt x="1606982" y="2152726"/>
                      <a:pt x="1529639" y="2133600"/>
                      <a:pt x="1447800" y="2133600"/>
                    </a:cubicBezTo>
                    <a:lnTo>
                      <a:pt x="685800" y="2133600"/>
                    </a:lnTo>
                    <a:cubicBezTo>
                      <a:pt x="659892" y="2133600"/>
                      <a:pt x="634594" y="2136115"/>
                      <a:pt x="609600" y="2139696"/>
                    </a:cubicBezTo>
                    <a:close/>
                    <a:moveTo>
                      <a:pt x="685800" y="2286000"/>
                    </a:moveTo>
                    <a:lnTo>
                      <a:pt x="1447800" y="2286000"/>
                    </a:lnTo>
                    <a:cubicBezTo>
                      <a:pt x="1631747" y="2286000"/>
                      <a:pt x="1785671" y="2417140"/>
                      <a:pt x="1821104" y="2590800"/>
                    </a:cubicBezTo>
                    <a:lnTo>
                      <a:pt x="312496" y="2590800"/>
                    </a:lnTo>
                    <a:cubicBezTo>
                      <a:pt x="347929" y="2417140"/>
                      <a:pt x="501853" y="2286000"/>
                      <a:pt x="685800" y="2286000"/>
                    </a:cubicBezTo>
                    <a:close/>
                    <a:moveTo>
                      <a:pt x="1981200" y="2743200"/>
                    </a:moveTo>
                    <a:lnTo>
                      <a:pt x="1981200" y="2895600"/>
                    </a:lnTo>
                    <a:lnTo>
                      <a:pt x="152400" y="2895600"/>
                    </a:lnTo>
                    <a:lnTo>
                      <a:pt x="152400" y="2743200"/>
                    </a:lnTo>
                    <a:close/>
                    <a:moveTo>
                      <a:pt x="1676400" y="4114800"/>
                    </a:moveTo>
                    <a:lnTo>
                      <a:pt x="1371600" y="4114800"/>
                    </a:lnTo>
                    <a:lnTo>
                      <a:pt x="1371600" y="3810000"/>
                    </a:lnTo>
                    <a:lnTo>
                      <a:pt x="1676400" y="3810000"/>
                    </a:lnTo>
                    <a:close/>
                    <a:moveTo>
                      <a:pt x="1219200" y="4114800"/>
                    </a:moveTo>
                    <a:lnTo>
                      <a:pt x="914400" y="4114800"/>
                    </a:lnTo>
                    <a:lnTo>
                      <a:pt x="914400" y="3810000"/>
                    </a:lnTo>
                    <a:lnTo>
                      <a:pt x="1219200" y="3810000"/>
                    </a:lnTo>
                    <a:close/>
                    <a:moveTo>
                      <a:pt x="1219200" y="4267200"/>
                    </a:moveTo>
                    <a:lnTo>
                      <a:pt x="1219200" y="4572000"/>
                    </a:lnTo>
                    <a:lnTo>
                      <a:pt x="914400" y="4572000"/>
                    </a:lnTo>
                    <a:lnTo>
                      <a:pt x="914400" y="4267200"/>
                    </a:lnTo>
                    <a:close/>
                    <a:moveTo>
                      <a:pt x="1371600" y="4267200"/>
                    </a:moveTo>
                    <a:lnTo>
                      <a:pt x="1676400" y="4267200"/>
                    </a:lnTo>
                    <a:lnTo>
                      <a:pt x="1676400" y="4572000"/>
                    </a:lnTo>
                    <a:lnTo>
                      <a:pt x="1371600" y="4572000"/>
                    </a:lnTo>
                    <a:close/>
                    <a:moveTo>
                      <a:pt x="1676400" y="3657600"/>
                    </a:moveTo>
                    <a:lnTo>
                      <a:pt x="1371600" y="3657600"/>
                    </a:lnTo>
                    <a:lnTo>
                      <a:pt x="1371600" y="3352800"/>
                    </a:lnTo>
                    <a:lnTo>
                      <a:pt x="1676400" y="3352800"/>
                    </a:lnTo>
                    <a:close/>
                    <a:moveTo>
                      <a:pt x="1219200" y="3657600"/>
                    </a:moveTo>
                    <a:lnTo>
                      <a:pt x="914400" y="3657600"/>
                    </a:lnTo>
                    <a:lnTo>
                      <a:pt x="914400" y="3352800"/>
                    </a:lnTo>
                    <a:lnTo>
                      <a:pt x="1219200" y="3352800"/>
                    </a:lnTo>
                    <a:close/>
                    <a:moveTo>
                      <a:pt x="762000" y="3657600"/>
                    </a:moveTo>
                    <a:lnTo>
                      <a:pt x="457200" y="3657600"/>
                    </a:lnTo>
                    <a:lnTo>
                      <a:pt x="457200" y="3352800"/>
                    </a:lnTo>
                    <a:lnTo>
                      <a:pt x="762000" y="3352800"/>
                    </a:lnTo>
                    <a:close/>
                    <a:moveTo>
                      <a:pt x="457200" y="3810000"/>
                    </a:moveTo>
                    <a:lnTo>
                      <a:pt x="762000" y="3810000"/>
                    </a:lnTo>
                    <a:lnTo>
                      <a:pt x="762000" y="4114800"/>
                    </a:lnTo>
                    <a:lnTo>
                      <a:pt x="457200" y="4114800"/>
                    </a:lnTo>
                    <a:close/>
                    <a:moveTo>
                      <a:pt x="457200" y="4267200"/>
                    </a:moveTo>
                    <a:lnTo>
                      <a:pt x="762000" y="4267200"/>
                    </a:lnTo>
                    <a:lnTo>
                      <a:pt x="762000" y="4572000"/>
                    </a:lnTo>
                    <a:lnTo>
                      <a:pt x="457200" y="4572000"/>
                    </a:lnTo>
                    <a:close/>
                    <a:moveTo>
                      <a:pt x="1828800" y="4572000"/>
                    </a:moveTo>
                    <a:lnTo>
                      <a:pt x="1828800" y="3200400"/>
                    </a:lnTo>
                    <a:lnTo>
                      <a:pt x="304800" y="3200400"/>
                    </a:lnTo>
                    <a:lnTo>
                      <a:pt x="304800" y="4572000"/>
                    </a:lnTo>
                    <a:lnTo>
                      <a:pt x="152400" y="4572000"/>
                    </a:lnTo>
                    <a:lnTo>
                      <a:pt x="152400" y="3048000"/>
                    </a:lnTo>
                    <a:lnTo>
                      <a:pt x="1981200" y="3048000"/>
                    </a:lnTo>
                    <a:lnTo>
                      <a:pt x="1981200" y="4572000"/>
                    </a:lnTo>
                    <a:close/>
                    <a:moveTo>
                      <a:pt x="1975104" y="2590800"/>
                    </a:moveTo>
                    <a:cubicBezTo>
                      <a:pt x="1958645" y="2476348"/>
                      <a:pt x="1906067" y="2373401"/>
                      <a:pt x="1828800" y="2294458"/>
                    </a:cubicBezTo>
                    <a:lnTo>
                      <a:pt x="1828800" y="2286000"/>
                    </a:lnTo>
                    <a:lnTo>
                      <a:pt x="2895600" y="2286000"/>
                    </a:lnTo>
                    <a:lnTo>
                      <a:pt x="2895600" y="3352800"/>
                    </a:lnTo>
                    <a:lnTo>
                      <a:pt x="2743200" y="3556026"/>
                    </a:lnTo>
                    <a:lnTo>
                      <a:pt x="2743200" y="4572000"/>
                    </a:lnTo>
                    <a:lnTo>
                      <a:pt x="2133600" y="4572000"/>
                    </a:lnTo>
                    <a:lnTo>
                      <a:pt x="2133600" y="2590800"/>
                    </a:lnTo>
                    <a:close/>
                    <a:moveTo>
                      <a:pt x="4572000" y="4572000"/>
                    </a:moveTo>
                    <a:lnTo>
                      <a:pt x="3810000" y="4572000"/>
                    </a:lnTo>
                    <a:lnTo>
                      <a:pt x="3810000" y="3556026"/>
                    </a:lnTo>
                    <a:lnTo>
                      <a:pt x="3657600" y="3352800"/>
                    </a:lnTo>
                    <a:lnTo>
                      <a:pt x="3657600" y="2885466"/>
                    </a:lnTo>
                    <a:lnTo>
                      <a:pt x="4572000" y="2754859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0E53D246-E3B7-4D2D-9A11-4A5E8BDE5097}"/>
                  </a:ext>
                </a:extLst>
              </p:cNvPr>
              <p:cNvSpPr/>
              <p:nvPr/>
            </p:nvSpPr>
            <p:spPr>
              <a:xfrm>
                <a:off x="6019800" y="3505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1AC80971-25AC-4D75-8CD2-88792D601A7F}"/>
                  </a:ext>
                </a:extLst>
              </p:cNvPr>
              <p:cNvSpPr/>
              <p:nvPr/>
            </p:nvSpPr>
            <p:spPr>
              <a:xfrm>
                <a:off x="6019800" y="53340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31B1D802-5107-4854-9A10-CB5D5894CAA0}"/>
                  </a:ext>
                </a:extLst>
              </p:cNvPr>
              <p:cNvSpPr/>
              <p:nvPr/>
            </p:nvSpPr>
            <p:spPr>
              <a:xfrm>
                <a:off x="6019800" y="38100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378ED597-89B1-4313-AF4F-2F8EE12CBD68}"/>
                  </a:ext>
                </a:extLst>
              </p:cNvPr>
              <p:cNvSpPr/>
              <p:nvPr/>
            </p:nvSpPr>
            <p:spPr>
              <a:xfrm>
                <a:off x="6019800" y="5029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B13DD6F2-8615-4CFC-AF18-BC098BCEDAD0}"/>
                  </a:ext>
                </a:extLst>
              </p:cNvPr>
              <p:cNvSpPr/>
              <p:nvPr/>
            </p:nvSpPr>
            <p:spPr>
              <a:xfrm>
                <a:off x="6019800" y="44196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63B852F7-FB62-4BA9-AD9C-F6E66308B079}"/>
                  </a:ext>
                </a:extLst>
              </p:cNvPr>
              <p:cNvSpPr/>
              <p:nvPr/>
            </p:nvSpPr>
            <p:spPr>
              <a:xfrm>
                <a:off x="6019800" y="41148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9341E6AF-6086-4B1B-A073-412B10358FB8}"/>
                  </a:ext>
                </a:extLst>
              </p:cNvPr>
              <p:cNvSpPr/>
              <p:nvPr/>
            </p:nvSpPr>
            <p:spPr>
              <a:xfrm>
                <a:off x="6019800" y="4724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B72FE4AC-40B8-4D93-AABA-649DE599A8D1}"/>
                  </a:ext>
                </a:extLst>
              </p:cNvPr>
              <p:cNvSpPr/>
              <p:nvPr/>
            </p:nvSpPr>
            <p:spPr>
              <a:xfrm>
                <a:off x="6324600" y="41148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EE6AEACA-FFEB-4D9D-8AAC-9CFFC046BE2D}"/>
                  </a:ext>
                </a:extLst>
              </p:cNvPr>
              <p:cNvSpPr/>
              <p:nvPr/>
            </p:nvSpPr>
            <p:spPr>
              <a:xfrm>
                <a:off x="6324600" y="38100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D0CE7AF7-106F-4245-B53F-F4DAFC3F7AC2}"/>
                  </a:ext>
                </a:extLst>
              </p:cNvPr>
              <p:cNvSpPr/>
              <p:nvPr/>
            </p:nvSpPr>
            <p:spPr>
              <a:xfrm>
                <a:off x="6324600" y="3505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C7F15C80-FFE9-4663-8C6C-AD21C7BF8A31}"/>
                  </a:ext>
                </a:extLst>
              </p:cNvPr>
              <p:cNvSpPr/>
              <p:nvPr/>
            </p:nvSpPr>
            <p:spPr>
              <a:xfrm>
                <a:off x="8001000" y="53340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6E8CEE1E-B5AE-4EC6-BB53-FC95C4519810}"/>
                  </a:ext>
                </a:extLst>
              </p:cNvPr>
              <p:cNvSpPr/>
              <p:nvPr/>
            </p:nvSpPr>
            <p:spPr>
              <a:xfrm>
                <a:off x="8001000" y="4724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004CD2C4-BABD-4659-8C9B-91578D5D047C}"/>
                  </a:ext>
                </a:extLst>
              </p:cNvPr>
              <p:cNvSpPr/>
              <p:nvPr/>
            </p:nvSpPr>
            <p:spPr>
              <a:xfrm>
                <a:off x="8001000" y="5029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5461F226-439C-456F-A660-ECA7B9640A29}"/>
                  </a:ext>
                </a:extLst>
              </p:cNvPr>
              <p:cNvSpPr/>
              <p:nvPr/>
            </p:nvSpPr>
            <p:spPr>
              <a:xfrm>
                <a:off x="8001000" y="44196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17F6D1CC-8B7B-46A5-8EC5-D5F3DA6D0512}"/>
                  </a:ext>
                </a:extLst>
              </p:cNvPr>
              <p:cNvSpPr/>
              <p:nvPr/>
            </p:nvSpPr>
            <p:spPr>
              <a:xfrm>
                <a:off x="8001000" y="41148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F25C226F-6866-44E6-BB1F-92509E742707}"/>
                  </a:ext>
                </a:extLst>
              </p:cNvPr>
              <p:cNvSpPr/>
              <p:nvPr/>
            </p:nvSpPr>
            <p:spPr>
              <a:xfrm>
                <a:off x="7696200" y="5029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7386B5AE-233E-4A36-82CF-783FFC7BCDF1}"/>
                  </a:ext>
                </a:extLst>
              </p:cNvPr>
              <p:cNvSpPr/>
              <p:nvPr/>
            </p:nvSpPr>
            <p:spPr>
              <a:xfrm>
                <a:off x="7696200" y="41148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10360D92-395F-4A34-8E30-F73A5749AC5A}"/>
                  </a:ext>
                </a:extLst>
              </p:cNvPr>
              <p:cNvSpPr/>
              <p:nvPr/>
            </p:nvSpPr>
            <p:spPr>
              <a:xfrm>
                <a:off x="7696200" y="4724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53AF66B6-0EF6-4474-9C53-0B33F6366BE9}"/>
                  </a:ext>
                </a:extLst>
              </p:cNvPr>
              <p:cNvSpPr/>
              <p:nvPr/>
            </p:nvSpPr>
            <p:spPr>
              <a:xfrm>
                <a:off x="7696200" y="53340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E3B30A9F-D55E-47BA-B1D2-E86133F6DE85}"/>
                  </a:ext>
                </a:extLst>
              </p:cNvPr>
              <p:cNvSpPr/>
              <p:nvPr/>
            </p:nvSpPr>
            <p:spPr>
              <a:xfrm>
                <a:off x="7696200" y="44196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8548EAB9-26F5-446A-A9F0-B00B785819F9}"/>
                  </a:ext>
                </a:extLst>
              </p:cNvPr>
              <p:cNvSpPr/>
              <p:nvPr/>
            </p:nvSpPr>
            <p:spPr>
              <a:xfrm>
                <a:off x="5410200" y="21336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AAD985CC-CB98-48EF-84D7-16F8E26C0209}"/>
                  </a:ext>
                </a:extLst>
              </p:cNvPr>
              <p:cNvSpPr/>
              <p:nvPr/>
            </p:nvSpPr>
            <p:spPr>
              <a:xfrm>
                <a:off x="5105400" y="21336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E90CB9E4-683D-4F04-AC28-4973EAA0058E}"/>
                  </a:ext>
                </a:extLst>
              </p:cNvPr>
              <p:cNvSpPr/>
              <p:nvPr/>
            </p:nvSpPr>
            <p:spPr>
              <a:xfrm>
                <a:off x="4495800" y="21336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1855FAC5-541C-4523-B515-D14F3E434748}"/>
                  </a:ext>
                </a:extLst>
              </p:cNvPr>
              <p:cNvSpPr/>
              <p:nvPr/>
            </p:nvSpPr>
            <p:spPr>
              <a:xfrm>
                <a:off x="4800600" y="21336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7C0FD6F8-4896-4D1D-86AF-066C784D51AF}"/>
                  </a:ext>
                </a:extLst>
              </p:cNvPr>
              <p:cNvSpPr/>
              <p:nvPr/>
            </p:nvSpPr>
            <p:spPr>
              <a:xfrm>
                <a:off x="4800600" y="2438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844C957D-98D4-40EA-9E3A-E2D04A5FE36E}"/>
                  </a:ext>
                </a:extLst>
              </p:cNvPr>
              <p:cNvSpPr/>
              <p:nvPr/>
            </p:nvSpPr>
            <p:spPr>
              <a:xfrm>
                <a:off x="5410200" y="2438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44BB5768-828C-4767-B353-148C6477C699}"/>
                  </a:ext>
                </a:extLst>
              </p:cNvPr>
              <p:cNvSpPr/>
              <p:nvPr/>
            </p:nvSpPr>
            <p:spPr>
              <a:xfrm>
                <a:off x="4495800" y="2438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8D38E7E4-6A40-4F35-84E5-A28518A7E879}"/>
                  </a:ext>
                </a:extLst>
              </p:cNvPr>
              <p:cNvSpPr/>
              <p:nvPr/>
            </p:nvSpPr>
            <p:spPr>
              <a:xfrm>
                <a:off x="5105400" y="2438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419DE806-21B8-4AC3-B7EB-D8C35625BA44}"/>
                  </a:ext>
                </a:extLst>
              </p:cNvPr>
              <p:cNvSpPr/>
              <p:nvPr/>
            </p:nvSpPr>
            <p:spPr>
              <a:xfrm>
                <a:off x="4495800" y="2743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7A3B8472-80F9-428E-8E27-DD7274F57DBD}"/>
                  </a:ext>
                </a:extLst>
              </p:cNvPr>
              <p:cNvSpPr/>
              <p:nvPr/>
            </p:nvSpPr>
            <p:spPr>
              <a:xfrm>
                <a:off x="4800600" y="2743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EE15E54E-972C-4F69-90AD-5FAB43AFB257}"/>
                  </a:ext>
                </a:extLst>
              </p:cNvPr>
              <p:cNvSpPr/>
              <p:nvPr/>
            </p:nvSpPr>
            <p:spPr>
              <a:xfrm>
                <a:off x="5105400" y="2743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7826AD9E-3D74-495C-A8A4-02B6960E29B5}"/>
                  </a:ext>
                </a:extLst>
              </p:cNvPr>
              <p:cNvSpPr/>
              <p:nvPr/>
            </p:nvSpPr>
            <p:spPr>
              <a:xfrm>
                <a:off x="7391400" y="2438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A4087354-E222-4D6A-9B9B-9B3A52BA2268}"/>
                  </a:ext>
                </a:extLst>
              </p:cNvPr>
              <p:cNvSpPr/>
              <p:nvPr/>
            </p:nvSpPr>
            <p:spPr>
              <a:xfrm>
                <a:off x="7086600" y="2438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6A35E73A-FE5D-4C7D-B375-FD21C375B470}"/>
                  </a:ext>
                </a:extLst>
              </p:cNvPr>
              <p:cNvSpPr/>
              <p:nvPr/>
            </p:nvSpPr>
            <p:spPr>
              <a:xfrm>
                <a:off x="6781800" y="24384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A9FE714A-2A68-4903-BE43-BC8BED1D9C2F}"/>
                  </a:ext>
                </a:extLst>
              </p:cNvPr>
              <p:cNvSpPr/>
              <p:nvPr/>
            </p:nvSpPr>
            <p:spPr>
              <a:xfrm>
                <a:off x="7391400" y="2743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CA5FDC50-8B15-431A-ACE2-CB6EE52A2A2B}"/>
                  </a:ext>
                </a:extLst>
              </p:cNvPr>
              <p:cNvSpPr/>
              <p:nvPr/>
            </p:nvSpPr>
            <p:spPr>
              <a:xfrm>
                <a:off x="6781800" y="2743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76BED6D0-D86F-416B-BD7E-22011EDA5680}"/>
                  </a:ext>
                </a:extLst>
              </p:cNvPr>
              <p:cNvSpPr/>
              <p:nvPr/>
            </p:nvSpPr>
            <p:spPr>
              <a:xfrm>
                <a:off x="7086600" y="27432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C8F4B5B8-565F-4968-80E5-D473753471D0}"/>
                  </a:ext>
                </a:extLst>
              </p:cNvPr>
              <p:cNvSpPr/>
              <p:nvPr/>
            </p:nvSpPr>
            <p:spPr>
              <a:xfrm>
                <a:off x="7086600" y="36576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D21C1199-B17F-4DC6-9806-EF8B3F8C48DA}"/>
                  </a:ext>
                </a:extLst>
              </p:cNvPr>
              <p:cNvSpPr/>
              <p:nvPr/>
            </p:nvSpPr>
            <p:spPr>
              <a:xfrm>
                <a:off x="7086600" y="33528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4AB6058D-2C10-4C8C-B51A-250258ED49A6}"/>
                  </a:ext>
                </a:extLst>
              </p:cNvPr>
              <p:cNvSpPr/>
              <p:nvPr/>
            </p:nvSpPr>
            <p:spPr>
              <a:xfrm>
                <a:off x="7086600" y="30480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28" name="Freeform: Shape 55327">
                <a:extLst>
                  <a:ext uri="{FF2B5EF4-FFF2-40B4-BE49-F238E27FC236}">
                    <a16:creationId xmlns:a16="http://schemas.microsoft.com/office/drawing/2014/main" id="{FC4E6435-6E2E-4DF9-8149-BDE036D7C0A7}"/>
                  </a:ext>
                </a:extLst>
              </p:cNvPr>
              <p:cNvSpPr/>
              <p:nvPr/>
            </p:nvSpPr>
            <p:spPr>
              <a:xfrm>
                <a:off x="7391400" y="33528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55329" name="Freeform: Shape 55328">
                <a:extLst>
                  <a:ext uri="{FF2B5EF4-FFF2-40B4-BE49-F238E27FC236}">
                    <a16:creationId xmlns:a16="http://schemas.microsoft.com/office/drawing/2014/main" id="{258FE782-E60E-4365-A470-06CC9C192B77}"/>
                  </a:ext>
                </a:extLst>
              </p:cNvPr>
              <p:cNvSpPr/>
              <p:nvPr/>
            </p:nvSpPr>
            <p:spPr>
              <a:xfrm>
                <a:off x="7391400" y="3048000"/>
                <a:ext cx="152400" cy="152400"/>
              </a:xfrm>
              <a:custGeom>
                <a:avLst/>
                <a:gdLst>
                  <a:gd name="connsiteX0" fmla="*/ 0 w 152400"/>
                  <a:gd name="connsiteY0" fmla="*/ 0 h 152400"/>
                  <a:gd name="connsiteX1" fmla="*/ 152400 w 152400"/>
                  <a:gd name="connsiteY1" fmla="*/ 0 h 152400"/>
                  <a:gd name="connsiteX2" fmla="*/ 152400 w 152400"/>
                  <a:gd name="connsiteY2" fmla="*/ 152400 h 152400"/>
                  <a:gd name="connsiteX3" fmla="*/ 0 w 1524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152400">
                    <a:moveTo>
                      <a:pt x="0" y="0"/>
                    </a:moveTo>
                    <a:lnTo>
                      <a:pt x="152400" y="0"/>
                    </a:lnTo>
                    <a:lnTo>
                      <a:pt x="1524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762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186" name="Graphic 55315">
              <a:extLst>
                <a:ext uri="{FF2B5EF4-FFF2-40B4-BE49-F238E27FC236}">
                  <a16:creationId xmlns:a16="http://schemas.microsoft.com/office/drawing/2014/main" id="{871012BD-8E31-4A1D-9864-38D7C600486F}"/>
                </a:ext>
              </a:extLst>
            </p:cNvPr>
            <p:cNvGrpSpPr/>
            <p:nvPr/>
          </p:nvGrpSpPr>
          <p:grpSpPr>
            <a:xfrm>
              <a:off x="1204061" y="2593127"/>
              <a:ext cx="184754" cy="107277"/>
              <a:chOff x="3733800" y="2057400"/>
              <a:chExt cx="4724400" cy="2743200"/>
            </a:xfrm>
            <a:solidFill>
              <a:schemeClr val="accent4"/>
            </a:solidFill>
          </p:grpSpPr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CCC9521D-6E60-4BF0-8D3E-7D006AAB67F0}"/>
                  </a:ext>
                </a:extLst>
              </p:cNvPr>
              <p:cNvSpPr/>
              <p:nvPr/>
            </p:nvSpPr>
            <p:spPr>
              <a:xfrm>
                <a:off x="3733800" y="2057400"/>
                <a:ext cx="4724400" cy="2743200"/>
              </a:xfrm>
              <a:custGeom>
                <a:avLst/>
                <a:gdLst>
                  <a:gd name="connsiteX0" fmla="*/ 4495800 w 4724400"/>
                  <a:gd name="connsiteY0" fmla="*/ 0 h 2743200"/>
                  <a:gd name="connsiteX1" fmla="*/ 228600 w 4724400"/>
                  <a:gd name="connsiteY1" fmla="*/ 0 h 2743200"/>
                  <a:gd name="connsiteX2" fmla="*/ 0 w 4724400"/>
                  <a:gd name="connsiteY2" fmla="*/ 228600 h 2743200"/>
                  <a:gd name="connsiteX3" fmla="*/ 0 w 4724400"/>
                  <a:gd name="connsiteY3" fmla="*/ 2514600 h 2743200"/>
                  <a:gd name="connsiteX4" fmla="*/ 228600 w 4724400"/>
                  <a:gd name="connsiteY4" fmla="*/ 2743200 h 2743200"/>
                  <a:gd name="connsiteX5" fmla="*/ 4495800 w 4724400"/>
                  <a:gd name="connsiteY5" fmla="*/ 2743200 h 2743200"/>
                  <a:gd name="connsiteX6" fmla="*/ 4724400 w 4724400"/>
                  <a:gd name="connsiteY6" fmla="*/ 2514600 h 2743200"/>
                  <a:gd name="connsiteX7" fmla="*/ 4724400 w 4724400"/>
                  <a:gd name="connsiteY7" fmla="*/ 228600 h 2743200"/>
                  <a:gd name="connsiteX8" fmla="*/ 4495800 w 4724400"/>
                  <a:gd name="connsiteY8" fmla="*/ 0 h 2743200"/>
                  <a:gd name="connsiteX9" fmla="*/ 4572000 w 4724400"/>
                  <a:gd name="connsiteY9" fmla="*/ 2514600 h 2743200"/>
                  <a:gd name="connsiteX10" fmla="*/ 4495800 w 4724400"/>
                  <a:gd name="connsiteY10" fmla="*/ 2590800 h 2743200"/>
                  <a:gd name="connsiteX11" fmla="*/ 228600 w 4724400"/>
                  <a:gd name="connsiteY11" fmla="*/ 2590800 h 2743200"/>
                  <a:gd name="connsiteX12" fmla="*/ 152400 w 4724400"/>
                  <a:gd name="connsiteY12" fmla="*/ 2514600 h 2743200"/>
                  <a:gd name="connsiteX13" fmla="*/ 152400 w 4724400"/>
                  <a:gd name="connsiteY13" fmla="*/ 515569 h 2743200"/>
                  <a:gd name="connsiteX14" fmla="*/ 2322957 w 4724400"/>
                  <a:gd name="connsiteY14" fmla="*/ 1817903 h 2743200"/>
                  <a:gd name="connsiteX15" fmla="*/ 2401443 w 4724400"/>
                  <a:gd name="connsiteY15" fmla="*/ 1817903 h 2743200"/>
                  <a:gd name="connsiteX16" fmla="*/ 4572000 w 4724400"/>
                  <a:gd name="connsiteY16" fmla="*/ 515569 h 2743200"/>
                  <a:gd name="connsiteX17" fmla="*/ 4572000 w 4724400"/>
                  <a:gd name="connsiteY17" fmla="*/ 2514600 h 2743200"/>
                  <a:gd name="connsiteX18" fmla="*/ 4572000 w 4724400"/>
                  <a:gd name="connsiteY18" fmla="*/ 337871 h 2743200"/>
                  <a:gd name="connsiteX19" fmla="*/ 2362200 w 4724400"/>
                  <a:gd name="connsiteY19" fmla="*/ 1663751 h 2743200"/>
                  <a:gd name="connsiteX20" fmla="*/ 152400 w 4724400"/>
                  <a:gd name="connsiteY20" fmla="*/ 337871 h 2743200"/>
                  <a:gd name="connsiteX21" fmla="*/ 152400 w 4724400"/>
                  <a:gd name="connsiteY21" fmla="*/ 228600 h 2743200"/>
                  <a:gd name="connsiteX22" fmla="*/ 228600 w 4724400"/>
                  <a:gd name="connsiteY22" fmla="*/ 152400 h 2743200"/>
                  <a:gd name="connsiteX23" fmla="*/ 4495800 w 4724400"/>
                  <a:gd name="connsiteY23" fmla="*/ 152400 h 2743200"/>
                  <a:gd name="connsiteX24" fmla="*/ 4572000 w 4724400"/>
                  <a:gd name="connsiteY24" fmla="*/ 228600 h 2743200"/>
                  <a:gd name="connsiteX25" fmla="*/ 4572000 w 4724400"/>
                  <a:gd name="connsiteY25" fmla="*/ 337871 h 27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724400" h="2743200">
                    <a:moveTo>
                      <a:pt x="4495800" y="0"/>
                    </a:moveTo>
                    <a:lnTo>
                      <a:pt x="228600" y="0"/>
                    </a:lnTo>
                    <a:cubicBezTo>
                      <a:pt x="102346" y="0"/>
                      <a:pt x="0" y="102346"/>
                      <a:pt x="0" y="228600"/>
                    </a:cubicBezTo>
                    <a:lnTo>
                      <a:pt x="0" y="2514600"/>
                    </a:lnTo>
                    <a:cubicBezTo>
                      <a:pt x="0" y="2640854"/>
                      <a:pt x="102346" y="2743200"/>
                      <a:pt x="228600" y="2743200"/>
                    </a:cubicBezTo>
                    <a:lnTo>
                      <a:pt x="4495800" y="2743200"/>
                    </a:lnTo>
                    <a:cubicBezTo>
                      <a:pt x="4622054" y="2743200"/>
                      <a:pt x="4724400" y="2640854"/>
                      <a:pt x="4724400" y="2514600"/>
                    </a:cubicBezTo>
                    <a:lnTo>
                      <a:pt x="4724400" y="228600"/>
                    </a:lnTo>
                    <a:cubicBezTo>
                      <a:pt x="4724400" y="102346"/>
                      <a:pt x="4622054" y="0"/>
                      <a:pt x="4495800" y="0"/>
                    </a:cubicBezTo>
                    <a:close/>
                    <a:moveTo>
                      <a:pt x="4572000" y="2514600"/>
                    </a:moveTo>
                    <a:cubicBezTo>
                      <a:pt x="4572000" y="2556682"/>
                      <a:pt x="4537882" y="2590800"/>
                      <a:pt x="4495800" y="2590800"/>
                    </a:cubicBezTo>
                    <a:lnTo>
                      <a:pt x="228600" y="2590800"/>
                    </a:lnTo>
                    <a:cubicBezTo>
                      <a:pt x="186519" y="2590800"/>
                      <a:pt x="152400" y="2556682"/>
                      <a:pt x="152400" y="2514600"/>
                    </a:cubicBezTo>
                    <a:lnTo>
                      <a:pt x="152400" y="515569"/>
                    </a:lnTo>
                    <a:lnTo>
                      <a:pt x="2322957" y="1817903"/>
                    </a:lnTo>
                    <a:cubicBezTo>
                      <a:pt x="2347103" y="1832410"/>
                      <a:pt x="2377297" y="1832410"/>
                      <a:pt x="2401443" y="1817903"/>
                    </a:cubicBezTo>
                    <a:lnTo>
                      <a:pt x="4572000" y="515569"/>
                    </a:lnTo>
                    <a:lnTo>
                      <a:pt x="4572000" y="2514600"/>
                    </a:lnTo>
                    <a:close/>
                    <a:moveTo>
                      <a:pt x="4572000" y="337871"/>
                    </a:moveTo>
                    <a:lnTo>
                      <a:pt x="2362200" y="1663751"/>
                    </a:lnTo>
                    <a:lnTo>
                      <a:pt x="152400" y="337871"/>
                    </a:lnTo>
                    <a:lnTo>
                      <a:pt x="152400" y="228600"/>
                    </a:lnTo>
                    <a:cubicBezTo>
                      <a:pt x="152400" y="186519"/>
                      <a:pt x="186519" y="152400"/>
                      <a:pt x="228600" y="152400"/>
                    </a:cubicBezTo>
                    <a:lnTo>
                      <a:pt x="4495800" y="152400"/>
                    </a:lnTo>
                    <a:cubicBezTo>
                      <a:pt x="4537882" y="152400"/>
                      <a:pt x="4572000" y="186519"/>
                      <a:pt x="4572000" y="228600"/>
                    </a:cubicBezTo>
                    <a:lnTo>
                      <a:pt x="4572000" y="33787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A4BF59A5-4F71-4A18-BAD8-C4741A02F239}"/>
                  </a:ext>
                </a:extLst>
              </p:cNvPr>
              <p:cNvSpPr/>
              <p:nvPr/>
            </p:nvSpPr>
            <p:spPr>
              <a:xfrm>
                <a:off x="7772400" y="3962400"/>
                <a:ext cx="304800" cy="457200"/>
              </a:xfrm>
              <a:custGeom>
                <a:avLst/>
                <a:gdLst>
                  <a:gd name="connsiteX0" fmla="*/ 76200 w 304800"/>
                  <a:gd name="connsiteY0" fmla="*/ 457200 h 457200"/>
                  <a:gd name="connsiteX1" fmla="*/ 228600 w 304800"/>
                  <a:gd name="connsiteY1" fmla="*/ 457200 h 457200"/>
                  <a:gd name="connsiteX2" fmla="*/ 304800 w 304800"/>
                  <a:gd name="connsiteY2" fmla="*/ 381000 h 457200"/>
                  <a:gd name="connsiteX3" fmla="*/ 304800 w 304800"/>
                  <a:gd name="connsiteY3" fmla="*/ 76200 h 457200"/>
                  <a:gd name="connsiteX4" fmla="*/ 228600 w 304800"/>
                  <a:gd name="connsiteY4" fmla="*/ 0 h 457200"/>
                  <a:gd name="connsiteX5" fmla="*/ 152400 w 304800"/>
                  <a:gd name="connsiteY5" fmla="*/ 76200 h 457200"/>
                  <a:gd name="connsiteX6" fmla="*/ 152400 w 304800"/>
                  <a:gd name="connsiteY6" fmla="*/ 304800 h 457200"/>
                  <a:gd name="connsiteX7" fmla="*/ 76200 w 304800"/>
                  <a:gd name="connsiteY7" fmla="*/ 304800 h 457200"/>
                  <a:gd name="connsiteX8" fmla="*/ 0 w 304800"/>
                  <a:gd name="connsiteY8" fmla="*/ 381000 h 457200"/>
                  <a:gd name="connsiteX9" fmla="*/ 76200 w 304800"/>
                  <a:gd name="connsiteY9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800" h="457200">
                    <a:moveTo>
                      <a:pt x="76200" y="457200"/>
                    </a:moveTo>
                    <a:lnTo>
                      <a:pt x="228600" y="457200"/>
                    </a:lnTo>
                    <a:cubicBezTo>
                      <a:pt x="270681" y="457200"/>
                      <a:pt x="304800" y="423081"/>
                      <a:pt x="304800" y="381000"/>
                    </a:cubicBezTo>
                    <a:lnTo>
                      <a:pt x="304800" y="76200"/>
                    </a:lnTo>
                    <a:cubicBezTo>
                      <a:pt x="304800" y="34119"/>
                      <a:pt x="270681" y="0"/>
                      <a:pt x="228600" y="0"/>
                    </a:cubicBezTo>
                    <a:cubicBezTo>
                      <a:pt x="186519" y="0"/>
                      <a:pt x="152400" y="34119"/>
                      <a:pt x="152400" y="76200"/>
                    </a:cubicBezTo>
                    <a:lnTo>
                      <a:pt x="152400" y="304800"/>
                    </a:lnTo>
                    <a:lnTo>
                      <a:pt x="76200" y="304800"/>
                    </a:lnTo>
                    <a:cubicBezTo>
                      <a:pt x="34119" y="304800"/>
                      <a:pt x="0" y="338919"/>
                      <a:pt x="0" y="381000"/>
                    </a:cubicBezTo>
                    <a:cubicBezTo>
                      <a:pt x="0" y="423081"/>
                      <a:pt x="34119" y="457200"/>
                      <a:pt x="76200" y="4572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F7FA81C0-E7C1-4727-81A0-A345BCD07E43}"/>
                  </a:ext>
                </a:extLst>
              </p:cNvPr>
              <p:cNvSpPr/>
              <p:nvPr/>
            </p:nvSpPr>
            <p:spPr>
              <a:xfrm>
                <a:off x="7315200" y="4267200"/>
                <a:ext cx="304800" cy="152400"/>
              </a:xfrm>
              <a:custGeom>
                <a:avLst/>
                <a:gdLst>
                  <a:gd name="connsiteX0" fmla="*/ 76200 w 304800"/>
                  <a:gd name="connsiteY0" fmla="*/ 152400 h 152400"/>
                  <a:gd name="connsiteX1" fmla="*/ 228600 w 304800"/>
                  <a:gd name="connsiteY1" fmla="*/ 152400 h 152400"/>
                  <a:gd name="connsiteX2" fmla="*/ 304800 w 304800"/>
                  <a:gd name="connsiteY2" fmla="*/ 76200 h 152400"/>
                  <a:gd name="connsiteX3" fmla="*/ 228600 w 304800"/>
                  <a:gd name="connsiteY3" fmla="*/ 0 h 152400"/>
                  <a:gd name="connsiteX4" fmla="*/ 76200 w 304800"/>
                  <a:gd name="connsiteY4" fmla="*/ 0 h 152400"/>
                  <a:gd name="connsiteX5" fmla="*/ 0 w 304800"/>
                  <a:gd name="connsiteY5" fmla="*/ 76200 h 152400"/>
                  <a:gd name="connsiteX6" fmla="*/ 76200 w 304800"/>
                  <a:gd name="connsiteY6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800" h="152400">
                    <a:moveTo>
                      <a:pt x="76200" y="152400"/>
                    </a:moveTo>
                    <a:lnTo>
                      <a:pt x="228600" y="152400"/>
                    </a:lnTo>
                    <a:cubicBezTo>
                      <a:pt x="270681" y="152400"/>
                      <a:pt x="304800" y="118281"/>
                      <a:pt x="304800" y="76200"/>
                    </a:cubicBezTo>
                    <a:cubicBezTo>
                      <a:pt x="304800" y="34119"/>
                      <a:pt x="270681" y="0"/>
                      <a:pt x="228600" y="0"/>
                    </a:cubicBezTo>
                    <a:lnTo>
                      <a:pt x="76200" y="0"/>
                    </a:lnTo>
                    <a:cubicBezTo>
                      <a:pt x="34119" y="0"/>
                      <a:pt x="0" y="34119"/>
                      <a:pt x="0" y="76200"/>
                    </a:cubicBezTo>
                    <a:cubicBezTo>
                      <a:pt x="0" y="118281"/>
                      <a:pt x="34119" y="152400"/>
                      <a:pt x="76200" y="1524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190" name="Graphic 55315">
              <a:extLst>
                <a:ext uri="{FF2B5EF4-FFF2-40B4-BE49-F238E27FC236}">
                  <a16:creationId xmlns:a16="http://schemas.microsoft.com/office/drawing/2014/main" id="{78686056-F6EE-40A3-B62F-AD38514409C1}"/>
                </a:ext>
              </a:extLst>
            </p:cNvPr>
            <p:cNvGrpSpPr/>
            <p:nvPr/>
          </p:nvGrpSpPr>
          <p:grpSpPr>
            <a:xfrm>
              <a:off x="1225383" y="2835861"/>
              <a:ext cx="184754" cy="107277"/>
              <a:chOff x="3733800" y="2057400"/>
              <a:chExt cx="4724400" cy="2743200"/>
            </a:xfrm>
            <a:solidFill>
              <a:schemeClr val="accent4"/>
            </a:solidFill>
          </p:grpSpPr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6B720505-8A08-4E44-936B-6472F8AF8A9D}"/>
                  </a:ext>
                </a:extLst>
              </p:cNvPr>
              <p:cNvSpPr/>
              <p:nvPr/>
            </p:nvSpPr>
            <p:spPr>
              <a:xfrm>
                <a:off x="3733800" y="2057400"/>
                <a:ext cx="4724400" cy="2743200"/>
              </a:xfrm>
              <a:custGeom>
                <a:avLst/>
                <a:gdLst>
                  <a:gd name="connsiteX0" fmla="*/ 4495800 w 4724400"/>
                  <a:gd name="connsiteY0" fmla="*/ 0 h 2743200"/>
                  <a:gd name="connsiteX1" fmla="*/ 228600 w 4724400"/>
                  <a:gd name="connsiteY1" fmla="*/ 0 h 2743200"/>
                  <a:gd name="connsiteX2" fmla="*/ 0 w 4724400"/>
                  <a:gd name="connsiteY2" fmla="*/ 228600 h 2743200"/>
                  <a:gd name="connsiteX3" fmla="*/ 0 w 4724400"/>
                  <a:gd name="connsiteY3" fmla="*/ 2514600 h 2743200"/>
                  <a:gd name="connsiteX4" fmla="*/ 228600 w 4724400"/>
                  <a:gd name="connsiteY4" fmla="*/ 2743200 h 2743200"/>
                  <a:gd name="connsiteX5" fmla="*/ 4495800 w 4724400"/>
                  <a:gd name="connsiteY5" fmla="*/ 2743200 h 2743200"/>
                  <a:gd name="connsiteX6" fmla="*/ 4724400 w 4724400"/>
                  <a:gd name="connsiteY6" fmla="*/ 2514600 h 2743200"/>
                  <a:gd name="connsiteX7" fmla="*/ 4724400 w 4724400"/>
                  <a:gd name="connsiteY7" fmla="*/ 228600 h 2743200"/>
                  <a:gd name="connsiteX8" fmla="*/ 4495800 w 4724400"/>
                  <a:gd name="connsiteY8" fmla="*/ 0 h 2743200"/>
                  <a:gd name="connsiteX9" fmla="*/ 4572000 w 4724400"/>
                  <a:gd name="connsiteY9" fmla="*/ 2514600 h 2743200"/>
                  <a:gd name="connsiteX10" fmla="*/ 4495800 w 4724400"/>
                  <a:gd name="connsiteY10" fmla="*/ 2590800 h 2743200"/>
                  <a:gd name="connsiteX11" fmla="*/ 228600 w 4724400"/>
                  <a:gd name="connsiteY11" fmla="*/ 2590800 h 2743200"/>
                  <a:gd name="connsiteX12" fmla="*/ 152400 w 4724400"/>
                  <a:gd name="connsiteY12" fmla="*/ 2514600 h 2743200"/>
                  <a:gd name="connsiteX13" fmla="*/ 152400 w 4724400"/>
                  <a:gd name="connsiteY13" fmla="*/ 515569 h 2743200"/>
                  <a:gd name="connsiteX14" fmla="*/ 2322957 w 4724400"/>
                  <a:gd name="connsiteY14" fmla="*/ 1817903 h 2743200"/>
                  <a:gd name="connsiteX15" fmla="*/ 2401443 w 4724400"/>
                  <a:gd name="connsiteY15" fmla="*/ 1817903 h 2743200"/>
                  <a:gd name="connsiteX16" fmla="*/ 4572000 w 4724400"/>
                  <a:gd name="connsiteY16" fmla="*/ 515569 h 2743200"/>
                  <a:gd name="connsiteX17" fmla="*/ 4572000 w 4724400"/>
                  <a:gd name="connsiteY17" fmla="*/ 2514600 h 2743200"/>
                  <a:gd name="connsiteX18" fmla="*/ 4572000 w 4724400"/>
                  <a:gd name="connsiteY18" fmla="*/ 337871 h 2743200"/>
                  <a:gd name="connsiteX19" fmla="*/ 2362200 w 4724400"/>
                  <a:gd name="connsiteY19" fmla="*/ 1663751 h 2743200"/>
                  <a:gd name="connsiteX20" fmla="*/ 152400 w 4724400"/>
                  <a:gd name="connsiteY20" fmla="*/ 337871 h 2743200"/>
                  <a:gd name="connsiteX21" fmla="*/ 152400 w 4724400"/>
                  <a:gd name="connsiteY21" fmla="*/ 228600 h 2743200"/>
                  <a:gd name="connsiteX22" fmla="*/ 228600 w 4724400"/>
                  <a:gd name="connsiteY22" fmla="*/ 152400 h 2743200"/>
                  <a:gd name="connsiteX23" fmla="*/ 4495800 w 4724400"/>
                  <a:gd name="connsiteY23" fmla="*/ 152400 h 2743200"/>
                  <a:gd name="connsiteX24" fmla="*/ 4572000 w 4724400"/>
                  <a:gd name="connsiteY24" fmla="*/ 228600 h 2743200"/>
                  <a:gd name="connsiteX25" fmla="*/ 4572000 w 4724400"/>
                  <a:gd name="connsiteY25" fmla="*/ 337871 h 27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724400" h="2743200">
                    <a:moveTo>
                      <a:pt x="4495800" y="0"/>
                    </a:moveTo>
                    <a:lnTo>
                      <a:pt x="228600" y="0"/>
                    </a:lnTo>
                    <a:cubicBezTo>
                      <a:pt x="102346" y="0"/>
                      <a:pt x="0" y="102346"/>
                      <a:pt x="0" y="228600"/>
                    </a:cubicBezTo>
                    <a:lnTo>
                      <a:pt x="0" y="2514600"/>
                    </a:lnTo>
                    <a:cubicBezTo>
                      <a:pt x="0" y="2640854"/>
                      <a:pt x="102346" y="2743200"/>
                      <a:pt x="228600" y="2743200"/>
                    </a:cubicBezTo>
                    <a:lnTo>
                      <a:pt x="4495800" y="2743200"/>
                    </a:lnTo>
                    <a:cubicBezTo>
                      <a:pt x="4622054" y="2743200"/>
                      <a:pt x="4724400" y="2640854"/>
                      <a:pt x="4724400" y="2514600"/>
                    </a:cubicBezTo>
                    <a:lnTo>
                      <a:pt x="4724400" y="228600"/>
                    </a:lnTo>
                    <a:cubicBezTo>
                      <a:pt x="4724400" y="102346"/>
                      <a:pt x="4622054" y="0"/>
                      <a:pt x="4495800" y="0"/>
                    </a:cubicBezTo>
                    <a:close/>
                    <a:moveTo>
                      <a:pt x="4572000" y="2514600"/>
                    </a:moveTo>
                    <a:cubicBezTo>
                      <a:pt x="4572000" y="2556682"/>
                      <a:pt x="4537882" y="2590800"/>
                      <a:pt x="4495800" y="2590800"/>
                    </a:cubicBezTo>
                    <a:lnTo>
                      <a:pt x="228600" y="2590800"/>
                    </a:lnTo>
                    <a:cubicBezTo>
                      <a:pt x="186519" y="2590800"/>
                      <a:pt x="152400" y="2556682"/>
                      <a:pt x="152400" y="2514600"/>
                    </a:cubicBezTo>
                    <a:lnTo>
                      <a:pt x="152400" y="515569"/>
                    </a:lnTo>
                    <a:lnTo>
                      <a:pt x="2322957" y="1817903"/>
                    </a:lnTo>
                    <a:cubicBezTo>
                      <a:pt x="2347103" y="1832410"/>
                      <a:pt x="2377297" y="1832410"/>
                      <a:pt x="2401443" y="1817903"/>
                    </a:cubicBezTo>
                    <a:lnTo>
                      <a:pt x="4572000" y="515569"/>
                    </a:lnTo>
                    <a:lnTo>
                      <a:pt x="4572000" y="2514600"/>
                    </a:lnTo>
                    <a:close/>
                    <a:moveTo>
                      <a:pt x="4572000" y="337871"/>
                    </a:moveTo>
                    <a:lnTo>
                      <a:pt x="2362200" y="1663751"/>
                    </a:lnTo>
                    <a:lnTo>
                      <a:pt x="152400" y="337871"/>
                    </a:lnTo>
                    <a:lnTo>
                      <a:pt x="152400" y="228600"/>
                    </a:lnTo>
                    <a:cubicBezTo>
                      <a:pt x="152400" y="186519"/>
                      <a:pt x="186519" y="152400"/>
                      <a:pt x="228600" y="152400"/>
                    </a:cubicBezTo>
                    <a:lnTo>
                      <a:pt x="4495800" y="152400"/>
                    </a:lnTo>
                    <a:cubicBezTo>
                      <a:pt x="4537882" y="152400"/>
                      <a:pt x="4572000" y="186519"/>
                      <a:pt x="4572000" y="228600"/>
                    </a:cubicBezTo>
                    <a:lnTo>
                      <a:pt x="4572000" y="33787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69911F1A-72CA-45D5-B6AC-9A631959D9DC}"/>
                  </a:ext>
                </a:extLst>
              </p:cNvPr>
              <p:cNvSpPr/>
              <p:nvPr/>
            </p:nvSpPr>
            <p:spPr>
              <a:xfrm>
                <a:off x="7772400" y="3962400"/>
                <a:ext cx="304800" cy="457200"/>
              </a:xfrm>
              <a:custGeom>
                <a:avLst/>
                <a:gdLst>
                  <a:gd name="connsiteX0" fmla="*/ 76200 w 304800"/>
                  <a:gd name="connsiteY0" fmla="*/ 457200 h 457200"/>
                  <a:gd name="connsiteX1" fmla="*/ 228600 w 304800"/>
                  <a:gd name="connsiteY1" fmla="*/ 457200 h 457200"/>
                  <a:gd name="connsiteX2" fmla="*/ 304800 w 304800"/>
                  <a:gd name="connsiteY2" fmla="*/ 381000 h 457200"/>
                  <a:gd name="connsiteX3" fmla="*/ 304800 w 304800"/>
                  <a:gd name="connsiteY3" fmla="*/ 76200 h 457200"/>
                  <a:gd name="connsiteX4" fmla="*/ 228600 w 304800"/>
                  <a:gd name="connsiteY4" fmla="*/ 0 h 457200"/>
                  <a:gd name="connsiteX5" fmla="*/ 152400 w 304800"/>
                  <a:gd name="connsiteY5" fmla="*/ 76200 h 457200"/>
                  <a:gd name="connsiteX6" fmla="*/ 152400 w 304800"/>
                  <a:gd name="connsiteY6" fmla="*/ 304800 h 457200"/>
                  <a:gd name="connsiteX7" fmla="*/ 76200 w 304800"/>
                  <a:gd name="connsiteY7" fmla="*/ 304800 h 457200"/>
                  <a:gd name="connsiteX8" fmla="*/ 0 w 304800"/>
                  <a:gd name="connsiteY8" fmla="*/ 381000 h 457200"/>
                  <a:gd name="connsiteX9" fmla="*/ 76200 w 304800"/>
                  <a:gd name="connsiteY9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800" h="457200">
                    <a:moveTo>
                      <a:pt x="76200" y="457200"/>
                    </a:moveTo>
                    <a:lnTo>
                      <a:pt x="228600" y="457200"/>
                    </a:lnTo>
                    <a:cubicBezTo>
                      <a:pt x="270681" y="457200"/>
                      <a:pt x="304800" y="423081"/>
                      <a:pt x="304800" y="381000"/>
                    </a:cubicBezTo>
                    <a:lnTo>
                      <a:pt x="304800" y="76200"/>
                    </a:lnTo>
                    <a:cubicBezTo>
                      <a:pt x="304800" y="34119"/>
                      <a:pt x="270681" y="0"/>
                      <a:pt x="228600" y="0"/>
                    </a:cubicBezTo>
                    <a:cubicBezTo>
                      <a:pt x="186519" y="0"/>
                      <a:pt x="152400" y="34119"/>
                      <a:pt x="152400" y="76200"/>
                    </a:cubicBezTo>
                    <a:lnTo>
                      <a:pt x="152400" y="304800"/>
                    </a:lnTo>
                    <a:lnTo>
                      <a:pt x="76200" y="304800"/>
                    </a:lnTo>
                    <a:cubicBezTo>
                      <a:pt x="34119" y="304800"/>
                      <a:pt x="0" y="338919"/>
                      <a:pt x="0" y="381000"/>
                    </a:cubicBezTo>
                    <a:cubicBezTo>
                      <a:pt x="0" y="423081"/>
                      <a:pt x="34119" y="457200"/>
                      <a:pt x="76200" y="4572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823E267E-51A9-4A51-BD0D-210F5C9C3CF6}"/>
                  </a:ext>
                </a:extLst>
              </p:cNvPr>
              <p:cNvSpPr/>
              <p:nvPr/>
            </p:nvSpPr>
            <p:spPr>
              <a:xfrm>
                <a:off x="7315200" y="4267200"/>
                <a:ext cx="304800" cy="152400"/>
              </a:xfrm>
              <a:custGeom>
                <a:avLst/>
                <a:gdLst>
                  <a:gd name="connsiteX0" fmla="*/ 76200 w 304800"/>
                  <a:gd name="connsiteY0" fmla="*/ 152400 h 152400"/>
                  <a:gd name="connsiteX1" fmla="*/ 228600 w 304800"/>
                  <a:gd name="connsiteY1" fmla="*/ 152400 h 152400"/>
                  <a:gd name="connsiteX2" fmla="*/ 304800 w 304800"/>
                  <a:gd name="connsiteY2" fmla="*/ 76200 h 152400"/>
                  <a:gd name="connsiteX3" fmla="*/ 228600 w 304800"/>
                  <a:gd name="connsiteY3" fmla="*/ 0 h 152400"/>
                  <a:gd name="connsiteX4" fmla="*/ 76200 w 304800"/>
                  <a:gd name="connsiteY4" fmla="*/ 0 h 152400"/>
                  <a:gd name="connsiteX5" fmla="*/ 0 w 304800"/>
                  <a:gd name="connsiteY5" fmla="*/ 76200 h 152400"/>
                  <a:gd name="connsiteX6" fmla="*/ 76200 w 304800"/>
                  <a:gd name="connsiteY6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800" h="152400">
                    <a:moveTo>
                      <a:pt x="76200" y="152400"/>
                    </a:moveTo>
                    <a:lnTo>
                      <a:pt x="228600" y="152400"/>
                    </a:lnTo>
                    <a:cubicBezTo>
                      <a:pt x="270681" y="152400"/>
                      <a:pt x="304800" y="118281"/>
                      <a:pt x="304800" y="76200"/>
                    </a:cubicBezTo>
                    <a:cubicBezTo>
                      <a:pt x="304800" y="34119"/>
                      <a:pt x="270681" y="0"/>
                      <a:pt x="228600" y="0"/>
                    </a:cubicBezTo>
                    <a:lnTo>
                      <a:pt x="76200" y="0"/>
                    </a:lnTo>
                    <a:cubicBezTo>
                      <a:pt x="34119" y="0"/>
                      <a:pt x="0" y="34119"/>
                      <a:pt x="0" y="76200"/>
                    </a:cubicBezTo>
                    <a:cubicBezTo>
                      <a:pt x="0" y="118281"/>
                      <a:pt x="34119" y="152400"/>
                      <a:pt x="76200" y="1524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194" name="Graphic 55315">
              <a:extLst>
                <a:ext uri="{FF2B5EF4-FFF2-40B4-BE49-F238E27FC236}">
                  <a16:creationId xmlns:a16="http://schemas.microsoft.com/office/drawing/2014/main" id="{ABFE8013-4710-4AA3-93C1-8AA24C3C31A6}"/>
                </a:ext>
              </a:extLst>
            </p:cNvPr>
            <p:cNvGrpSpPr/>
            <p:nvPr/>
          </p:nvGrpSpPr>
          <p:grpSpPr>
            <a:xfrm>
              <a:off x="1322996" y="3078595"/>
              <a:ext cx="184754" cy="107277"/>
              <a:chOff x="3733800" y="2057400"/>
              <a:chExt cx="4724400" cy="2743200"/>
            </a:xfrm>
            <a:solidFill>
              <a:schemeClr val="accent4"/>
            </a:solidFill>
          </p:grpSpPr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2B574506-3088-4DC8-A835-C5CC23882471}"/>
                  </a:ext>
                </a:extLst>
              </p:cNvPr>
              <p:cNvSpPr/>
              <p:nvPr/>
            </p:nvSpPr>
            <p:spPr>
              <a:xfrm>
                <a:off x="3733800" y="2057400"/>
                <a:ext cx="4724400" cy="2743200"/>
              </a:xfrm>
              <a:custGeom>
                <a:avLst/>
                <a:gdLst>
                  <a:gd name="connsiteX0" fmla="*/ 4495800 w 4724400"/>
                  <a:gd name="connsiteY0" fmla="*/ 0 h 2743200"/>
                  <a:gd name="connsiteX1" fmla="*/ 228600 w 4724400"/>
                  <a:gd name="connsiteY1" fmla="*/ 0 h 2743200"/>
                  <a:gd name="connsiteX2" fmla="*/ 0 w 4724400"/>
                  <a:gd name="connsiteY2" fmla="*/ 228600 h 2743200"/>
                  <a:gd name="connsiteX3" fmla="*/ 0 w 4724400"/>
                  <a:gd name="connsiteY3" fmla="*/ 2514600 h 2743200"/>
                  <a:gd name="connsiteX4" fmla="*/ 228600 w 4724400"/>
                  <a:gd name="connsiteY4" fmla="*/ 2743200 h 2743200"/>
                  <a:gd name="connsiteX5" fmla="*/ 4495800 w 4724400"/>
                  <a:gd name="connsiteY5" fmla="*/ 2743200 h 2743200"/>
                  <a:gd name="connsiteX6" fmla="*/ 4724400 w 4724400"/>
                  <a:gd name="connsiteY6" fmla="*/ 2514600 h 2743200"/>
                  <a:gd name="connsiteX7" fmla="*/ 4724400 w 4724400"/>
                  <a:gd name="connsiteY7" fmla="*/ 228600 h 2743200"/>
                  <a:gd name="connsiteX8" fmla="*/ 4495800 w 4724400"/>
                  <a:gd name="connsiteY8" fmla="*/ 0 h 2743200"/>
                  <a:gd name="connsiteX9" fmla="*/ 4572000 w 4724400"/>
                  <a:gd name="connsiteY9" fmla="*/ 2514600 h 2743200"/>
                  <a:gd name="connsiteX10" fmla="*/ 4495800 w 4724400"/>
                  <a:gd name="connsiteY10" fmla="*/ 2590800 h 2743200"/>
                  <a:gd name="connsiteX11" fmla="*/ 228600 w 4724400"/>
                  <a:gd name="connsiteY11" fmla="*/ 2590800 h 2743200"/>
                  <a:gd name="connsiteX12" fmla="*/ 152400 w 4724400"/>
                  <a:gd name="connsiteY12" fmla="*/ 2514600 h 2743200"/>
                  <a:gd name="connsiteX13" fmla="*/ 152400 w 4724400"/>
                  <a:gd name="connsiteY13" fmla="*/ 515569 h 2743200"/>
                  <a:gd name="connsiteX14" fmla="*/ 2322957 w 4724400"/>
                  <a:gd name="connsiteY14" fmla="*/ 1817903 h 2743200"/>
                  <a:gd name="connsiteX15" fmla="*/ 2401443 w 4724400"/>
                  <a:gd name="connsiteY15" fmla="*/ 1817903 h 2743200"/>
                  <a:gd name="connsiteX16" fmla="*/ 4572000 w 4724400"/>
                  <a:gd name="connsiteY16" fmla="*/ 515569 h 2743200"/>
                  <a:gd name="connsiteX17" fmla="*/ 4572000 w 4724400"/>
                  <a:gd name="connsiteY17" fmla="*/ 2514600 h 2743200"/>
                  <a:gd name="connsiteX18" fmla="*/ 4572000 w 4724400"/>
                  <a:gd name="connsiteY18" fmla="*/ 337871 h 2743200"/>
                  <a:gd name="connsiteX19" fmla="*/ 2362200 w 4724400"/>
                  <a:gd name="connsiteY19" fmla="*/ 1663751 h 2743200"/>
                  <a:gd name="connsiteX20" fmla="*/ 152400 w 4724400"/>
                  <a:gd name="connsiteY20" fmla="*/ 337871 h 2743200"/>
                  <a:gd name="connsiteX21" fmla="*/ 152400 w 4724400"/>
                  <a:gd name="connsiteY21" fmla="*/ 228600 h 2743200"/>
                  <a:gd name="connsiteX22" fmla="*/ 228600 w 4724400"/>
                  <a:gd name="connsiteY22" fmla="*/ 152400 h 2743200"/>
                  <a:gd name="connsiteX23" fmla="*/ 4495800 w 4724400"/>
                  <a:gd name="connsiteY23" fmla="*/ 152400 h 2743200"/>
                  <a:gd name="connsiteX24" fmla="*/ 4572000 w 4724400"/>
                  <a:gd name="connsiteY24" fmla="*/ 228600 h 2743200"/>
                  <a:gd name="connsiteX25" fmla="*/ 4572000 w 4724400"/>
                  <a:gd name="connsiteY25" fmla="*/ 337871 h 27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724400" h="2743200">
                    <a:moveTo>
                      <a:pt x="4495800" y="0"/>
                    </a:moveTo>
                    <a:lnTo>
                      <a:pt x="228600" y="0"/>
                    </a:lnTo>
                    <a:cubicBezTo>
                      <a:pt x="102346" y="0"/>
                      <a:pt x="0" y="102346"/>
                      <a:pt x="0" y="228600"/>
                    </a:cubicBezTo>
                    <a:lnTo>
                      <a:pt x="0" y="2514600"/>
                    </a:lnTo>
                    <a:cubicBezTo>
                      <a:pt x="0" y="2640854"/>
                      <a:pt x="102346" y="2743200"/>
                      <a:pt x="228600" y="2743200"/>
                    </a:cubicBezTo>
                    <a:lnTo>
                      <a:pt x="4495800" y="2743200"/>
                    </a:lnTo>
                    <a:cubicBezTo>
                      <a:pt x="4622054" y="2743200"/>
                      <a:pt x="4724400" y="2640854"/>
                      <a:pt x="4724400" y="2514600"/>
                    </a:cubicBezTo>
                    <a:lnTo>
                      <a:pt x="4724400" y="228600"/>
                    </a:lnTo>
                    <a:cubicBezTo>
                      <a:pt x="4724400" y="102346"/>
                      <a:pt x="4622054" y="0"/>
                      <a:pt x="4495800" y="0"/>
                    </a:cubicBezTo>
                    <a:close/>
                    <a:moveTo>
                      <a:pt x="4572000" y="2514600"/>
                    </a:moveTo>
                    <a:cubicBezTo>
                      <a:pt x="4572000" y="2556682"/>
                      <a:pt x="4537882" y="2590800"/>
                      <a:pt x="4495800" y="2590800"/>
                    </a:cubicBezTo>
                    <a:lnTo>
                      <a:pt x="228600" y="2590800"/>
                    </a:lnTo>
                    <a:cubicBezTo>
                      <a:pt x="186519" y="2590800"/>
                      <a:pt x="152400" y="2556682"/>
                      <a:pt x="152400" y="2514600"/>
                    </a:cubicBezTo>
                    <a:lnTo>
                      <a:pt x="152400" y="515569"/>
                    </a:lnTo>
                    <a:lnTo>
                      <a:pt x="2322957" y="1817903"/>
                    </a:lnTo>
                    <a:cubicBezTo>
                      <a:pt x="2347103" y="1832410"/>
                      <a:pt x="2377297" y="1832410"/>
                      <a:pt x="2401443" y="1817903"/>
                    </a:cubicBezTo>
                    <a:lnTo>
                      <a:pt x="4572000" y="515569"/>
                    </a:lnTo>
                    <a:lnTo>
                      <a:pt x="4572000" y="2514600"/>
                    </a:lnTo>
                    <a:close/>
                    <a:moveTo>
                      <a:pt x="4572000" y="337871"/>
                    </a:moveTo>
                    <a:lnTo>
                      <a:pt x="2362200" y="1663751"/>
                    </a:lnTo>
                    <a:lnTo>
                      <a:pt x="152400" y="337871"/>
                    </a:lnTo>
                    <a:lnTo>
                      <a:pt x="152400" y="228600"/>
                    </a:lnTo>
                    <a:cubicBezTo>
                      <a:pt x="152400" y="186519"/>
                      <a:pt x="186519" y="152400"/>
                      <a:pt x="228600" y="152400"/>
                    </a:cubicBezTo>
                    <a:lnTo>
                      <a:pt x="4495800" y="152400"/>
                    </a:lnTo>
                    <a:cubicBezTo>
                      <a:pt x="4537882" y="152400"/>
                      <a:pt x="4572000" y="186519"/>
                      <a:pt x="4572000" y="228600"/>
                    </a:cubicBezTo>
                    <a:lnTo>
                      <a:pt x="4572000" y="33787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300481AE-6040-438A-AFED-40FC838435DE}"/>
                  </a:ext>
                </a:extLst>
              </p:cNvPr>
              <p:cNvSpPr/>
              <p:nvPr/>
            </p:nvSpPr>
            <p:spPr>
              <a:xfrm>
                <a:off x="7772400" y="3962400"/>
                <a:ext cx="304800" cy="457200"/>
              </a:xfrm>
              <a:custGeom>
                <a:avLst/>
                <a:gdLst>
                  <a:gd name="connsiteX0" fmla="*/ 76200 w 304800"/>
                  <a:gd name="connsiteY0" fmla="*/ 457200 h 457200"/>
                  <a:gd name="connsiteX1" fmla="*/ 228600 w 304800"/>
                  <a:gd name="connsiteY1" fmla="*/ 457200 h 457200"/>
                  <a:gd name="connsiteX2" fmla="*/ 304800 w 304800"/>
                  <a:gd name="connsiteY2" fmla="*/ 381000 h 457200"/>
                  <a:gd name="connsiteX3" fmla="*/ 304800 w 304800"/>
                  <a:gd name="connsiteY3" fmla="*/ 76200 h 457200"/>
                  <a:gd name="connsiteX4" fmla="*/ 228600 w 304800"/>
                  <a:gd name="connsiteY4" fmla="*/ 0 h 457200"/>
                  <a:gd name="connsiteX5" fmla="*/ 152400 w 304800"/>
                  <a:gd name="connsiteY5" fmla="*/ 76200 h 457200"/>
                  <a:gd name="connsiteX6" fmla="*/ 152400 w 304800"/>
                  <a:gd name="connsiteY6" fmla="*/ 304800 h 457200"/>
                  <a:gd name="connsiteX7" fmla="*/ 76200 w 304800"/>
                  <a:gd name="connsiteY7" fmla="*/ 304800 h 457200"/>
                  <a:gd name="connsiteX8" fmla="*/ 0 w 304800"/>
                  <a:gd name="connsiteY8" fmla="*/ 381000 h 457200"/>
                  <a:gd name="connsiteX9" fmla="*/ 76200 w 304800"/>
                  <a:gd name="connsiteY9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4800" h="457200">
                    <a:moveTo>
                      <a:pt x="76200" y="457200"/>
                    </a:moveTo>
                    <a:lnTo>
                      <a:pt x="228600" y="457200"/>
                    </a:lnTo>
                    <a:cubicBezTo>
                      <a:pt x="270681" y="457200"/>
                      <a:pt x="304800" y="423081"/>
                      <a:pt x="304800" y="381000"/>
                    </a:cubicBezTo>
                    <a:lnTo>
                      <a:pt x="304800" y="76200"/>
                    </a:lnTo>
                    <a:cubicBezTo>
                      <a:pt x="304800" y="34119"/>
                      <a:pt x="270681" y="0"/>
                      <a:pt x="228600" y="0"/>
                    </a:cubicBezTo>
                    <a:cubicBezTo>
                      <a:pt x="186519" y="0"/>
                      <a:pt x="152400" y="34119"/>
                      <a:pt x="152400" y="76200"/>
                    </a:cubicBezTo>
                    <a:lnTo>
                      <a:pt x="152400" y="304800"/>
                    </a:lnTo>
                    <a:lnTo>
                      <a:pt x="76200" y="304800"/>
                    </a:lnTo>
                    <a:cubicBezTo>
                      <a:pt x="34119" y="304800"/>
                      <a:pt x="0" y="338919"/>
                      <a:pt x="0" y="381000"/>
                    </a:cubicBezTo>
                    <a:cubicBezTo>
                      <a:pt x="0" y="423081"/>
                      <a:pt x="34119" y="457200"/>
                      <a:pt x="76200" y="4572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05AA7C36-681A-452E-89E7-1764CFE247B9}"/>
                  </a:ext>
                </a:extLst>
              </p:cNvPr>
              <p:cNvSpPr/>
              <p:nvPr/>
            </p:nvSpPr>
            <p:spPr>
              <a:xfrm>
                <a:off x="7315200" y="4267200"/>
                <a:ext cx="304800" cy="152400"/>
              </a:xfrm>
              <a:custGeom>
                <a:avLst/>
                <a:gdLst>
                  <a:gd name="connsiteX0" fmla="*/ 76200 w 304800"/>
                  <a:gd name="connsiteY0" fmla="*/ 152400 h 152400"/>
                  <a:gd name="connsiteX1" fmla="*/ 228600 w 304800"/>
                  <a:gd name="connsiteY1" fmla="*/ 152400 h 152400"/>
                  <a:gd name="connsiteX2" fmla="*/ 304800 w 304800"/>
                  <a:gd name="connsiteY2" fmla="*/ 76200 h 152400"/>
                  <a:gd name="connsiteX3" fmla="*/ 228600 w 304800"/>
                  <a:gd name="connsiteY3" fmla="*/ 0 h 152400"/>
                  <a:gd name="connsiteX4" fmla="*/ 76200 w 304800"/>
                  <a:gd name="connsiteY4" fmla="*/ 0 h 152400"/>
                  <a:gd name="connsiteX5" fmla="*/ 0 w 304800"/>
                  <a:gd name="connsiteY5" fmla="*/ 76200 h 152400"/>
                  <a:gd name="connsiteX6" fmla="*/ 76200 w 304800"/>
                  <a:gd name="connsiteY6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4800" h="152400">
                    <a:moveTo>
                      <a:pt x="76200" y="152400"/>
                    </a:moveTo>
                    <a:lnTo>
                      <a:pt x="228600" y="152400"/>
                    </a:lnTo>
                    <a:cubicBezTo>
                      <a:pt x="270681" y="152400"/>
                      <a:pt x="304800" y="118281"/>
                      <a:pt x="304800" y="76200"/>
                    </a:cubicBezTo>
                    <a:cubicBezTo>
                      <a:pt x="304800" y="34119"/>
                      <a:pt x="270681" y="0"/>
                      <a:pt x="228600" y="0"/>
                    </a:cubicBezTo>
                    <a:lnTo>
                      <a:pt x="76200" y="0"/>
                    </a:lnTo>
                    <a:cubicBezTo>
                      <a:pt x="34119" y="0"/>
                      <a:pt x="0" y="34119"/>
                      <a:pt x="0" y="76200"/>
                    </a:cubicBezTo>
                    <a:cubicBezTo>
                      <a:pt x="0" y="118281"/>
                      <a:pt x="34119" y="152400"/>
                      <a:pt x="76200" y="1524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4E4FCA-6223-4063-96D6-94996CDE4304}"/>
              </a:ext>
            </a:extLst>
          </p:cNvPr>
          <p:cNvCxnSpPr>
            <a:cxnSpLocks/>
          </p:cNvCxnSpPr>
          <p:nvPr/>
        </p:nvCxnSpPr>
        <p:spPr>
          <a:xfrm>
            <a:off x="8276256" y="1360957"/>
            <a:ext cx="295357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078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849BD14-80ED-4AAE-A3A9-A64E468296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8157" y="1556792"/>
            <a:ext cx="5760000" cy="3312368"/>
          </a:xfrm>
        </p:spPr>
        <p:txBody>
          <a:bodyPr/>
          <a:lstStyle/>
          <a:p>
            <a:pPr lvl="1"/>
            <a:r>
              <a:rPr lang="ru-RU" sz="1400" b="1" dirty="0"/>
              <a:t>Космическая архитектура группировки</a:t>
            </a:r>
            <a:r>
              <a:rPr lang="ru-RU" sz="1400" dirty="0"/>
              <a:t>:</a:t>
            </a:r>
          </a:p>
          <a:p>
            <a:pPr lvl="2"/>
            <a:r>
              <a:rPr lang="ru-RU" sz="1400" b="1" dirty="0">
                <a:solidFill>
                  <a:schemeClr val="bg2"/>
                </a:solidFill>
              </a:rPr>
              <a:t>Несколько десятков спутников </a:t>
            </a:r>
            <a:r>
              <a:rPr lang="ru-RU" sz="1400" dirty="0"/>
              <a:t>на высоте около 500-600 км, </a:t>
            </a:r>
            <a:r>
              <a:rPr lang="ru-RU" sz="1400" dirty="0">
                <a:solidFill>
                  <a:schemeClr val="tx1"/>
                </a:solidFill>
              </a:rPr>
              <a:t>полярная орбита</a:t>
            </a:r>
          </a:p>
          <a:p>
            <a:pPr lvl="2"/>
            <a:r>
              <a:rPr lang="ru-RU" sz="1400" b="1" dirty="0">
                <a:solidFill>
                  <a:schemeClr val="bg2"/>
                </a:solidFill>
              </a:rPr>
              <a:t>Облачное подключение наземных станций </a:t>
            </a:r>
            <a:r>
              <a:rPr lang="ru-RU" sz="1400" dirty="0"/>
              <a:t>для непрерывной мгновенной передачи данных, собранных спутниками или наземными сетями, наземным партнерам LPWA</a:t>
            </a:r>
          </a:p>
          <a:p>
            <a:pPr lvl="2">
              <a:spcBef>
                <a:spcPts val="0"/>
              </a:spcBef>
              <a:spcAft>
                <a:spcPts val="600"/>
              </a:spcAft>
            </a:pPr>
            <a:r>
              <a:rPr lang="ru-RU" sz="1400" b="1" dirty="0">
                <a:solidFill>
                  <a:schemeClr val="bg2"/>
                </a:solidFill>
              </a:rPr>
              <a:t>Первоначальное применение недорогих малых спутников </a:t>
            </a:r>
            <a:r>
              <a:rPr lang="ru-RU" sz="1400" dirty="0">
                <a:solidFill>
                  <a:schemeClr val="tx1"/>
                </a:solidFill>
              </a:rPr>
              <a:t>(6U, класс около 10 кг)</a:t>
            </a:r>
          </a:p>
          <a:p>
            <a:pPr lvl="2">
              <a:spcBef>
                <a:spcPts val="0"/>
              </a:spcBef>
              <a:spcAft>
                <a:spcPts val="600"/>
              </a:spcAft>
            </a:pPr>
            <a:r>
              <a:rPr lang="ru-RU" sz="1400" dirty="0">
                <a:solidFill>
                  <a:schemeClr val="tx1"/>
                </a:solidFill>
              </a:rPr>
              <a:t>Непрерывная модернизация благодаря частому обновлению спутников</a:t>
            </a:r>
          </a:p>
          <a:p>
            <a:pPr marL="266700" lvl="2" indent="0">
              <a:buNone/>
            </a:pPr>
            <a:endParaRPr lang="en-GB" sz="1600" dirty="0"/>
          </a:p>
          <a:p>
            <a:pPr lvl="1"/>
            <a:r>
              <a:rPr lang="ru-RU" sz="1400" b="1" dirty="0"/>
              <a:t>Терминалы: обязательства LPWA не претерпевают изменений </a:t>
            </a:r>
          </a:p>
          <a:p>
            <a:pPr lvl="2"/>
            <a:r>
              <a:rPr lang="ru-RU" sz="1400" dirty="0"/>
              <a:t>Система оптимизирована для </a:t>
            </a:r>
            <a:r>
              <a:rPr lang="ru-RU" sz="1400" b="1" dirty="0">
                <a:solidFill>
                  <a:schemeClr val="bg2"/>
                </a:solidFill>
              </a:rPr>
              <a:t>длительного срока службы элемента питания </a:t>
            </a:r>
          </a:p>
          <a:p>
            <a:pPr lvl="2"/>
            <a:r>
              <a:rPr lang="ru-RU" sz="1400" dirty="0"/>
              <a:t>Обеспечено </a:t>
            </a:r>
            <a:r>
              <a:rPr lang="ru-RU" sz="1400" b="1" dirty="0">
                <a:solidFill>
                  <a:schemeClr val="bg2"/>
                </a:solidFill>
              </a:rPr>
              <a:t>значительное снижение размера, потребляемой мощности</a:t>
            </a:r>
            <a:r>
              <a:rPr lang="ru-RU" sz="1400" dirty="0"/>
              <a:t> и </a:t>
            </a:r>
            <a:r>
              <a:rPr lang="ru-RU" sz="1400" b="1" dirty="0">
                <a:solidFill>
                  <a:schemeClr val="bg2"/>
                </a:solidFill>
              </a:rPr>
              <a:t>затрат</a:t>
            </a:r>
            <a:r>
              <a:rPr lang="ru-RU" sz="1400" dirty="0"/>
              <a:t> на коммуникационный модуль по сравнению с существующими спутниковыми решениями</a:t>
            </a:r>
          </a:p>
          <a:p>
            <a:endParaRPr lang="en-US" sz="1600" dirty="0"/>
          </a:p>
        </p:txBody>
      </p:sp>
      <p:pic>
        <p:nvPicPr>
          <p:cNvPr id="10" name="Picture 2" descr="\\eutelsat.fr\office\users\gscottez\Projects\IOT\Visuels\Images with ETL logo\sat_ELO_A0_paysage_RVB_low_Logo.png">
            <a:extLst>
              <a:ext uri="{FF2B5EF4-FFF2-40B4-BE49-F238E27FC236}">
                <a16:creationId xmlns:a16="http://schemas.microsoft.com/office/drawing/2014/main" id="{88337022-8E44-4D7B-B0A5-A96236F2EE8B}"/>
              </a:ext>
            </a:extLst>
          </p:cNvPr>
          <p:cNvPicPr>
            <a:picLocks noGrp="1" noChangeAspect="1" noChangeArrowheads="1"/>
          </p:cNvPicPr>
          <p:nvPr>
            <p:ph type="pic" idx="14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875" r="15875"/>
          <a:stretch/>
        </p:blipFill>
        <p:spPr/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09F9B91-8AFB-42E1-9216-A55BBBD3C8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6207" y="800752"/>
            <a:ext cx="5760000" cy="396000"/>
          </a:xfrm>
        </p:spPr>
        <p:txBody>
          <a:bodyPr/>
          <a:lstStyle/>
          <a:p>
            <a:r>
              <a:rPr lang="ru-RU" sz="1800" dirty="0"/>
              <a:t>Опора на новые космические проекты для оптимизации затрат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196207" y="44624"/>
            <a:ext cx="3454664" cy="646331"/>
          </a:xfrm>
        </p:spPr>
        <p:txBody>
          <a:bodyPr/>
          <a:lstStyle/>
          <a:p>
            <a:r>
              <a:rPr lang="ru-RU" sz="1800" dirty="0"/>
              <a:t>Система ELO специально </a:t>
            </a:r>
            <a:br>
              <a:rPr lang="ru-RU" sz="1800" dirty="0"/>
            </a:br>
            <a:r>
              <a:rPr lang="ru-RU" sz="1800" dirty="0"/>
              <a:t>разработана для нужд </a:t>
            </a:r>
            <a:r>
              <a:rPr lang="ru-RU" sz="1800" dirty="0" err="1"/>
              <a:t>IoT</a:t>
            </a:r>
            <a:r>
              <a:rPr lang="ru-RU" sz="1800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271D4-5CFC-4E75-9261-0CEC58111BD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3067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7073"/>
            <a:ext cx="10638618" cy="1015663"/>
          </a:xfrm>
        </p:spPr>
        <p:txBody>
          <a:bodyPr/>
          <a:lstStyle/>
          <a:p>
            <a:r>
              <a:rPr lang="ru-RU" sz="2000" dirty="0"/>
              <a:t>ELO радикально отличается не только от прежних спутниковых служб, </a:t>
            </a:r>
            <a:br>
              <a:rPr lang="ru-RU" sz="2000" dirty="0"/>
            </a:br>
            <a:r>
              <a:rPr lang="ru-RU" sz="2000" dirty="0"/>
              <a:t>но и от длинного перечня новых космических проектов в области </a:t>
            </a:r>
            <a:r>
              <a:rPr lang="ru-RU" sz="2000" dirty="0" err="1"/>
              <a:t>IoT</a:t>
            </a:r>
            <a:r>
              <a:rPr lang="ru-RU" sz="2000" dirty="0"/>
              <a:t>, </a:t>
            </a:r>
            <a:br>
              <a:rPr lang="ru-RU" sz="2000" dirty="0"/>
            </a:br>
            <a:r>
              <a:rPr lang="ru-RU" sz="2000" dirty="0"/>
              <a:t>как по затратам, так и охвату рынка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376658"/>
              </p:ext>
            </p:extLst>
          </p:nvPr>
        </p:nvGraphicFramePr>
        <p:xfrm>
          <a:off x="419348" y="1125338"/>
          <a:ext cx="11364666" cy="5125695"/>
        </p:xfrm>
        <a:graphic>
          <a:graphicData uri="http://schemas.openxmlformats.org/drawingml/2006/table">
            <a:tbl>
              <a:tblPr firstRow="1" firstCol="1">
                <a:tableStyleId>{8A107856-5554-42FB-B03E-39F5DBC370BA}</a:tableStyleId>
              </a:tblPr>
              <a:tblGrid>
                <a:gridCol w="16442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89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75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491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4612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4304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67563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508631">
                <a:tc gridSpan="2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chemeClr val="bg1"/>
                          </a:solidFill>
                        </a:rPr>
                        <a:t>Интеграция с наземной системой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chemeClr val="bg1"/>
                          </a:solidFill>
                        </a:rPr>
                        <a:t>Частот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chemeClr val="bg1"/>
                          </a:solidFill>
                        </a:rPr>
                        <a:t>Стоимость терминал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chemeClr val="bg1"/>
                          </a:solidFill>
                        </a:rPr>
                        <a:t>Плата за подключени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solidFill>
                            <a:schemeClr val="bg1"/>
                          </a:solidFill>
                        </a:rPr>
                        <a:t>Соответствие сценариев применени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0445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3C78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Гибридная наземная/ спутниковая система LPWA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rgbClr val="00B050"/>
                          </a:solidFill>
                        </a:rPr>
                        <a:t>Полная интеграция</a:t>
                      </a:r>
                      <a:r>
                        <a:rPr lang="ru-RU" sz="1000" b="1" baseline="0" dirty="0">
                          <a:solidFill>
                            <a:srgbClr val="00B050"/>
                          </a:solidFill>
                        </a:rPr>
                        <a:t> с основными участниками рынка наземных систем</a:t>
                      </a:r>
                    </a:p>
                    <a:p>
                      <a:pPr algn="ctr"/>
                      <a:br>
                        <a:rPr lang="ru-RU" sz="1000" b="1" baseline="0" dirty="0">
                          <a:solidFill>
                            <a:srgbClr val="00B050"/>
                          </a:solidFill>
                        </a:rPr>
                      </a:br>
                      <a:r>
                        <a:rPr lang="ru-RU" sz="1000" b="0" baseline="0" dirty="0">
                          <a:solidFill>
                            <a:schemeClr val="tx1"/>
                          </a:solidFill>
                        </a:rPr>
                        <a:t>Существующие каналы распределения</a:t>
                      </a:r>
                      <a:r>
                        <a:rPr lang="ru-RU" sz="1000" b="1" baseline="0" dirty="0">
                          <a:solidFill>
                            <a:srgbClr val="00B050"/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/>
                        <a:t>Диапазоны ISM </a:t>
                      </a:r>
                    </a:p>
                    <a:p>
                      <a:pPr algn="ctr"/>
                      <a:br>
                        <a:rPr lang="ru-RU" sz="1000" b="1"/>
                      </a:br>
                      <a:r>
                        <a:rPr lang="ru-RU" sz="1000" b="0"/>
                        <a:t>Те же, что и для наземной системы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изкая</a:t>
                      </a:r>
                    </a:p>
                    <a:p>
                      <a:pPr algn="l" rtl="0"/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000"/>
                        <a:t>Всего на несколько долларов больше по сравнению с чисто наземными модулям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изкая</a:t>
                      </a:r>
                    </a:p>
                    <a:p>
                      <a:pPr algn="l" rtl="0"/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C7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ru-RU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енее 10 долларов в год на объект</a:t>
                      </a:r>
                      <a:br>
                        <a:rPr kumimoji="0" lang="ru-RU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ru-RU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для нескольких сообщений в день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от же, что и у наземной системы LPW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0445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3C78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овые космические проект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>
                          <a:solidFill>
                            <a:srgbClr val="C00000"/>
                          </a:solidFill>
                        </a:rPr>
                        <a:t>Огромные усилия</a:t>
                      </a:r>
                      <a:r>
                        <a:rPr lang="ru-RU" sz="1000" b="1" baseline="0">
                          <a:solidFill>
                            <a:srgbClr val="C00000"/>
                          </a:solidFill>
                        </a:rPr>
                        <a:t> по построению экосистемы с нуля в случае обособленного существовани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/>
                        <a:t>140-160</a:t>
                      </a:r>
                      <a:r>
                        <a:rPr lang="ru-RU" sz="1000" b="0" baseline="0"/>
                        <a:t> МГц, диапазон L</a:t>
                      </a:r>
                      <a:r>
                        <a:rPr lang="ru-RU" sz="1000" b="0"/>
                        <a:t>,</a:t>
                      </a:r>
                      <a:r>
                        <a:rPr lang="ru-RU" sz="1000" b="0" baseline="0"/>
                        <a:t> диапазон S, однако </a:t>
                      </a:r>
                      <a:r>
                        <a:rPr lang="ru-RU" sz="1000" b="1" baseline="0"/>
                        <a:t>фактическая ситуация с правами неясна</a:t>
                      </a:r>
                      <a:r>
                        <a:rPr lang="ru-RU" sz="1000" b="0" baseline="0"/>
                        <a:t> 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Умеренная</a:t>
                      </a:r>
                    </a:p>
                    <a:p>
                      <a:pPr algn="ctr"/>
                      <a:br>
                        <a:rPr lang="ru-RU" sz="1000" baseline="0"/>
                      </a:br>
                      <a:r>
                        <a:rPr lang="ru-RU" sz="1000" baseline="0"/>
                        <a:t>Отсутствие масштаба объясняет </a:t>
                      </a:r>
                      <a:r>
                        <a:rPr lang="ru-RU" sz="1000"/>
                        <a:t>высокую стоимость</a:t>
                      </a:r>
                      <a:r>
                        <a:rPr lang="ru-RU" sz="1000" baseline="0"/>
                        <a:t> чипсетов и терминалов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FFC000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меренная</a:t>
                      </a:r>
                      <a:br>
                        <a:rPr kumimoji="0" lang="ru-RU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br>
                        <a:rPr kumimoji="0" lang="ru-RU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ru-RU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-40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евро / год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C7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C78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>
                          <a:solidFill>
                            <a:schemeClr val="tx1"/>
                          </a:solidFill>
                        </a:rPr>
                        <a:t>То же,</a:t>
                      </a:r>
                      <a:r>
                        <a:rPr lang="ru-RU" sz="1000" b="0" baseline="0">
                          <a:solidFill>
                            <a:schemeClr val="tx1"/>
                          </a:solidFill>
                        </a:rPr>
                        <a:t> что и у наземных систем LPWA, однако потенциал будет ограничен ценам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10445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3C78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ежние системы MSS</a:t>
                      </a:r>
                      <a:br>
                        <a:rPr kumimoji="0" lang="ru-RU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3C78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ru-RU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3C78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пригодны для LPW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ru-RU" sz="1000" b="1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Прежние чисто спутниковые провайдеры услуг, использующие</a:t>
                      </a:r>
                      <a:r>
                        <a:rPr lang="ru-RU" sz="1000" b="1" baseline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 собственные космические технологи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>
                          <a:solidFill>
                            <a:schemeClr val="tx1"/>
                          </a:solidFill>
                        </a:rPr>
                        <a:t>Диапазоны MSS </a:t>
                      </a:r>
                      <a:r>
                        <a:rPr lang="ru-RU" sz="1000">
                          <a:solidFill>
                            <a:schemeClr val="tx1"/>
                          </a:solidFill>
                        </a:rPr>
                        <a:t>в диапазонах частот VHF</a:t>
                      </a:r>
                      <a:r>
                        <a:rPr lang="ru-RU" sz="1000" baseline="0">
                          <a:solidFill>
                            <a:schemeClr val="tx1"/>
                          </a:solidFill>
                        </a:rPr>
                        <a:t>, L и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rgbClr val="C00000"/>
                          </a:solidFill>
                        </a:rPr>
                        <a:t>Высокая </a:t>
                      </a:r>
                    </a:p>
                    <a:p>
                      <a:pPr algn="ctr"/>
                      <a:br>
                        <a:rPr lang="ru-RU" sz="10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100-5000 евро за терминал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rgbClr val="C00000"/>
                          </a:solidFill>
                        </a:rPr>
                        <a:t>Высокая </a:t>
                      </a:r>
                    </a:p>
                    <a:p>
                      <a:pPr algn="ctr"/>
                      <a:br>
                        <a:rPr lang="ru-RU" sz="10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40-200 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евро /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</a:rPr>
                        <a:t> го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тслеживание активов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</a:rPr>
                        <a:t> высокой стоимости, безопасность, требование работы в реальном времени и уровня качества обслуживания (</a:t>
                      </a:r>
                      <a:r>
                        <a:rPr lang="ru-RU" sz="1000" baseline="0" dirty="0" err="1">
                          <a:solidFill>
                            <a:schemeClr val="tx1"/>
                          </a:solidFill>
                        </a:rPr>
                        <a:t>QoS</a:t>
                      </a:r>
                      <a:r>
                        <a:rPr lang="ru-RU" sz="1000" baseline="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9" name="Picture 2" descr="RÃ©sultats de recherche d'images pour Â«Â orbcommÂ Â»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492" y="5619755"/>
            <a:ext cx="758710" cy="134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RÃ©sultats de recherche d'images pour Â«Â iridium logoÂ Â»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6437" y="5094005"/>
            <a:ext cx="916770" cy="282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RÃ©sultats de recherche d'images pour Â«Â inmarsat logoÂ Â»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413" y="4752031"/>
            <a:ext cx="715417" cy="394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RÃ©sultats de recherche d'images pour Â«Â globalstar logoÂ Â»"/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090413" y="5407552"/>
            <a:ext cx="591626" cy="146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ounded Rectangle 35"/>
          <p:cNvSpPr/>
          <p:nvPr/>
        </p:nvSpPr>
        <p:spPr bwMode="gray">
          <a:xfrm>
            <a:off x="2381831" y="2279006"/>
            <a:ext cx="575461" cy="239326"/>
          </a:xfrm>
          <a:prstGeom prst="roundRect">
            <a:avLst/>
          </a:prstGeom>
          <a:solidFill>
            <a:schemeClr val="bg2"/>
          </a:solidFill>
          <a:ln w="952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449" tIns="36449" rIns="36449" bIns="36449" rtlCol="0" anchor="ctr"/>
          <a:lstStyle/>
          <a:p>
            <a:pPr algn="ctr"/>
            <a:r>
              <a:rPr lang="ru-RU" sz="1400" b="1"/>
              <a:t>ELO</a:t>
            </a:r>
          </a:p>
        </p:txBody>
      </p:sp>
      <p:pic>
        <p:nvPicPr>
          <p:cNvPr id="37" name="Picture 4" descr="Astrocast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481" y="3121454"/>
            <a:ext cx="756184" cy="314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" descr="Helios Wire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7023" y="3922208"/>
            <a:ext cx="683372" cy="184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2" descr="Hiberband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0389" y="3632635"/>
            <a:ext cx="564137" cy="338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" descr="RÃ©sultats de recherche d'images pour Â«Â sky and space global logoÂ Â»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9787" y="4015799"/>
            <a:ext cx="719357" cy="24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0" descr="RÃ©sultats de recherche d'images pour Â«Â swarm technologies logoÂ Â»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70395" y="3395882"/>
            <a:ext cx="598143" cy="131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RÃ©sultats de recherche d'images pour Â«Â fleet space logoÂ Â»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413" y="4324458"/>
            <a:ext cx="624435" cy="81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0" name="Picture 2" descr="RÃ©sultats de recherche d'images pour Â«Â kineis logoÂ Â»"/>
          <p:cNvPicPr>
            <a:picLocks noChangeAspect="1" noChangeArrowheads="1"/>
          </p:cNvPicPr>
          <p:nvPr/>
        </p:nvPicPr>
        <p:blipFill rotWithShape="1"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10" t="22529" r="63832" b="29839"/>
          <a:stretch/>
        </p:blipFill>
        <p:spPr bwMode="auto">
          <a:xfrm>
            <a:off x="1965587" y="3528156"/>
            <a:ext cx="528269" cy="223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36142C4-E88B-490E-BC5C-1451A14EDFB7}"/>
              </a:ext>
            </a:extLst>
          </p:cNvPr>
          <p:cNvCxnSpPr>
            <a:cxnSpLocks/>
          </p:cNvCxnSpPr>
          <p:nvPr/>
        </p:nvCxnSpPr>
        <p:spPr>
          <a:xfrm flipV="1">
            <a:off x="623392" y="3051215"/>
            <a:ext cx="10945216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02C5419-1E0B-46D5-A174-36B779275F55}"/>
              </a:ext>
            </a:extLst>
          </p:cNvPr>
          <p:cNvCxnSpPr>
            <a:cxnSpLocks/>
          </p:cNvCxnSpPr>
          <p:nvPr/>
        </p:nvCxnSpPr>
        <p:spPr>
          <a:xfrm flipV="1">
            <a:off x="623392" y="4653730"/>
            <a:ext cx="10945216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66CFD6A3-D765-45F3-8470-2DC8E221CFE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111524" y="1944604"/>
            <a:ext cx="1057014" cy="275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3406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7BE614D-A1A7-41CD-ADBF-1D22F92AB209}"/>
              </a:ext>
            </a:extLst>
          </p:cNvPr>
          <p:cNvSpPr/>
          <p:nvPr/>
        </p:nvSpPr>
        <p:spPr>
          <a:xfrm>
            <a:off x="6960096" y="0"/>
            <a:ext cx="532859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2"/>
              </a:solidFill>
            </a:endParaRPr>
          </a:p>
        </p:txBody>
      </p:sp>
      <p:pic>
        <p:nvPicPr>
          <p:cNvPr id="19" name="Image 9">
            <a:extLst>
              <a:ext uri="{FF2B5EF4-FFF2-40B4-BE49-F238E27FC236}">
                <a16:creationId xmlns:a16="http://schemas.microsoft.com/office/drawing/2014/main" id="{B638456E-199E-4E54-9102-FFAA9E4352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253" r="44174"/>
          <a:stretch/>
        </p:blipFill>
        <p:spPr>
          <a:xfrm>
            <a:off x="6950765" y="-8722"/>
            <a:ext cx="5328592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724012-42D8-4011-8241-2487717DDB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6537" y="990749"/>
            <a:ext cx="6219503" cy="782067"/>
          </a:xfrm>
        </p:spPr>
        <p:txBody>
          <a:bodyPr/>
          <a:lstStyle/>
          <a:p>
            <a:r>
              <a:rPr lang="ru-RU" sz="2000" dirty="0"/>
              <a:t>работа совместно с операторами сети LPWA, чтобы иметь возможность предлагать гибридные подключения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39998" y="44290"/>
            <a:ext cx="3586816" cy="830997"/>
          </a:xfrm>
        </p:spPr>
        <p:txBody>
          <a:bodyPr/>
          <a:lstStyle/>
          <a:p>
            <a:r>
              <a:rPr lang="ru-RU" sz="2400" dirty="0"/>
              <a:t>косвенный подход </a:t>
            </a:r>
            <a:br>
              <a:rPr lang="ru-RU" sz="2400" dirty="0"/>
            </a:br>
            <a:r>
              <a:rPr lang="ru-RU" sz="2400" dirty="0"/>
              <a:t>к РАСПРОСТРАНЕНИЮ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19525-19F1-46F3-AB60-123F8AB8AA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Content Placeholder 1"/>
          <p:cNvSpPr txBox="1">
            <a:spLocks/>
          </p:cNvSpPr>
          <p:nvPr/>
        </p:nvSpPr>
        <p:spPr bwMode="gray">
          <a:xfrm>
            <a:off x="7427914" y="1145201"/>
            <a:ext cx="4428726" cy="5112568"/>
          </a:xfrm>
          <a:prstGeom prst="rect">
            <a:avLst/>
          </a:prstGeom>
          <a:noFill/>
          <a:ln>
            <a:noFill/>
          </a:ln>
        </p:spPr>
        <p:txBody>
          <a:bodyPr vert="horz" lIns="72898" tIns="72898" rIns="72898" bIns="72898" rtlCol="0" anchor="ctr">
            <a:noAutofit/>
          </a:bodyPr>
          <a:lstStyle>
            <a:lvl1pPr marL="342900" indent="-287338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80000"/>
              <a:buFont typeface="Webdings" panose="05030102010509060703" pitchFamily="18" charset="2"/>
              <a:buChar char="/"/>
              <a:defRPr sz="2000" b="1" i="0" kern="1200" baseline="0">
                <a:solidFill>
                  <a:srgbClr val="003C78"/>
                </a:solidFill>
                <a:latin typeface="Verdana"/>
                <a:ea typeface="+mn-ea"/>
                <a:cs typeface="Verdana"/>
              </a:defRPr>
            </a:lvl1pPr>
            <a:lvl2pPr marL="627063" indent="-266700" algn="l" defTabSz="457200" rtl="0" eaLnBrk="1" latinLnBrk="0" hangingPunct="1">
              <a:spcBef>
                <a:spcPct val="20000"/>
              </a:spcBef>
              <a:buClr>
                <a:srgbClr val="003C78"/>
              </a:buClr>
              <a:buSzPct val="80000"/>
              <a:buFont typeface="Wingdings" panose="05000000000000000000" pitchFamily="2" charset="2"/>
              <a:buChar char="è"/>
              <a:defRPr sz="1800" b="1" i="0" kern="1200" baseline="0">
                <a:solidFill>
                  <a:srgbClr val="7F7F7F"/>
                </a:solidFill>
                <a:latin typeface="Verdana"/>
                <a:ea typeface="+mn-ea"/>
                <a:cs typeface="Verdana"/>
              </a:defRPr>
            </a:lvl2pPr>
            <a:lvl3pPr marL="855663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à"/>
              <a:tabLst/>
              <a:defRPr sz="1600" b="1" i="0" kern="1200">
                <a:solidFill>
                  <a:schemeClr val="accent2"/>
                </a:solidFill>
                <a:latin typeface="Verdana"/>
                <a:ea typeface="+mn-ea"/>
                <a:cs typeface="Verdana"/>
              </a:defRPr>
            </a:lvl3pPr>
            <a:lvl4pPr marL="1166813" indent="-18415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1435100" indent="-176213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11138">
              <a:spcBef>
                <a:spcPts val="3000"/>
              </a:spcBef>
            </a:pPr>
            <a:r>
              <a:rPr lang="ru-RU" sz="1400" b="0">
                <a:solidFill>
                  <a:schemeClr val="bg1"/>
                </a:solidFill>
              </a:rPr>
              <a:t>Доступ к спутниковой инфраструктуре IoT </a:t>
            </a:r>
            <a:r>
              <a:rPr lang="ru-RU" sz="1400" u="sng">
                <a:solidFill>
                  <a:schemeClr val="bg1"/>
                </a:solidFill>
              </a:rPr>
              <a:t>не</a:t>
            </a:r>
            <a:r>
              <a:rPr lang="ru-RU" sz="1400">
                <a:solidFill>
                  <a:schemeClr val="bg1"/>
                </a:solidFill>
              </a:rPr>
              <a:t> предназначается для непосредственной продажи</a:t>
            </a:r>
            <a:r>
              <a:rPr lang="ru-RU" sz="1400" b="0">
                <a:solidFill>
                  <a:schemeClr val="bg1"/>
                </a:solidFill>
              </a:rPr>
              <a:t> конечным клиентам</a:t>
            </a:r>
          </a:p>
          <a:p>
            <a:pPr marL="266700" indent="-211138">
              <a:spcBef>
                <a:spcPts val="3000"/>
              </a:spcBef>
            </a:pPr>
            <a:r>
              <a:rPr lang="ru-RU" sz="1400" b="0">
                <a:solidFill>
                  <a:schemeClr val="bg1"/>
                </a:solidFill>
              </a:rPr>
              <a:t>Операторы сети LPWA смогут покупать доступ к спутниковой инфраструктуре для разработки </a:t>
            </a:r>
            <a:r>
              <a:rPr lang="ru-RU" sz="1400">
                <a:solidFill>
                  <a:schemeClr val="bg1"/>
                </a:solidFill>
              </a:rPr>
              <a:t>новых гибридных предложений, </a:t>
            </a:r>
            <a:r>
              <a:rPr lang="ru-RU" sz="1400" b="0">
                <a:solidFill>
                  <a:schemeClr val="bg1"/>
                </a:solidFill>
              </a:rPr>
              <a:t>сочетая спутниковую инфраструктуру со своими наземными сетями</a:t>
            </a:r>
          </a:p>
          <a:p>
            <a:pPr marL="266700" indent="-211138">
              <a:spcBef>
                <a:spcPts val="3000"/>
              </a:spcBef>
            </a:pPr>
            <a:r>
              <a:rPr lang="ru-RU" sz="1400" b="0">
                <a:solidFill>
                  <a:schemeClr val="bg1"/>
                </a:solidFill>
              </a:rPr>
              <a:t>Эта модель </a:t>
            </a:r>
            <a:r>
              <a:rPr lang="ru-RU" sz="1400">
                <a:solidFill>
                  <a:schemeClr val="bg1"/>
                </a:solidFill>
              </a:rPr>
              <a:t>косвенного распределения </a:t>
            </a:r>
            <a:r>
              <a:rPr lang="ru-RU" sz="1400" b="0">
                <a:solidFill>
                  <a:schemeClr val="bg1"/>
                </a:solidFill>
              </a:rPr>
              <a:t>будет сочетать уже существующую экосистему заказчиков и поставщиков услуг с операторами сетей LPWA</a:t>
            </a:r>
          </a:p>
          <a:p>
            <a:pPr marL="266700" indent="-211138">
              <a:spcBef>
                <a:spcPts val="3000"/>
              </a:spcBef>
            </a:pPr>
            <a:r>
              <a:rPr lang="ru-RU" sz="1400">
                <a:solidFill>
                  <a:schemeClr val="bg1"/>
                </a:solidFill>
              </a:rPr>
              <a:t>Несколько типов бизнес-моделей </a:t>
            </a:r>
            <a:r>
              <a:rPr lang="ru-RU" sz="1400" b="0">
                <a:solidFill>
                  <a:schemeClr val="bg1"/>
                </a:solidFill>
              </a:rPr>
              <a:t>смогут быть задействованы при этом</a:t>
            </a:r>
          </a:p>
        </p:txBody>
      </p:sp>
      <p:cxnSp>
        <p:nvCxnSpPr>
          <p:cNvPr id="89" name="Straight Arrow Connector 88"/>
          <p:cNvCxnSpPr/>
          <p:nvPr/>
        </p:nvCxnSpPr>
        <p:spPr bwMode="gray">
          <a:xfrm>
            <a:off x="1055440" y="6021288"/>
            <a:ext cx="306034" cy="0"/>
          </a:xfrm>
          <a:prstGeom prst="straightConnector1">
            <a:avLst/>
          </a:prstGeom>
          <a:ln w="38100">
            <a:solidFill>
              <a:schemeClr val="bg2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 bwMode="gray">
          <a:xfrm>
            <a:off x="1415480" y="5892150"/>
            <a:ext cx="1872208" cy="258276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Направление продаж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F12CD40-EAA7-46A3-AB62-D2A4170006E2}"/>
              </a:ext>
            </a:extLst>
          </p:cNvPr>
          <p:cNvGrpSpPr/>
          <p:nvPr/>
        </p:nvGrpSpPr>
        <p:grpSpPr>
          <a:xfrm>
            <a:off x="197890" y="2420888"/>
            <a:ext cx="6618190" cy="2359734"/>
            <a:chOff x="167340" y="2420888"/>
            <a:chExt cx="8088900" cy="2359734"/>
          </a:xfrm>
        </p:grpSpPr>
        <p:sp>
          <p:nvSpPr>
            <p:cNvPr id="10" name="Rounded Rectangle 9"/>
            <p:cNvSpPr/>
            <p:nvPr/>
          </p:nvSpPr>
          <p:spPr bwMode="gray">
            <a:xfrm>
              <a:off x="335360" y="2708920"/>
              <a:ext cx="1620000" cy="1090378"/>
            </a:xfrm>
            <a:prstGeom prst="round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449" tIns="36449" rIns="36449" bIns="36449" rtlCol="0" anchor="ctr"/>
            <a:lstStyle/>
            <a:p>
              <a:pPr algn="ctr"/>
              <a:r>
                <a:rPr lang="ru-RU" sz="1600"/>
                <a:t>«Евтелсат»</a:t>
              </a:r>
            </a:p>
          </p:txBody>
        </p:sp>
        <p:sp>
          <p:nvSpPr>
            <p:cNvPr id="11" name="Rounded Rectangle 10"/>
            <p:cNvSpPr/>
            <p:nvPr/>
          </p:nvSpPr>
          <p:spPr bwMode="gray">
            <a:xfrm>
              <a:off x="2435653" y="2708920"/>
              <a:ext cx="1620000" cy="1090378"/>
            </a:xfrm>
            <a:prstGeom prst="round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449" tIns="36449" rIns="36449" bIns="36449" rtlCol="0" anchor="ctr"/>
            <a:lstStyle/>
            <a:p>
              <a:pPr algn="ctr"/>
              <a:r>
                <a:rPr lang="ru-RU" sz="1600"/>
                <a:t>Операторы сетей LPWA</a:t>
              </a:r>
            </a:p>
          </p:txBody>
        </p:sp>
        <p:sp>
          <p:nvSpPr>
            <p:cNvPr id="13" name="Rounded Rectangle 12"/>
            <p:cNvSpPr/>
            <p:nvPr/>
          </p:nvSpPr>
          <p:spPr bwMode="gray">
            <a:xfrm>
              <a:off x="6636240" y="2708920"/>
              <a:ext cx="1620000" cy="1090378"/>
            </a:xfrm>
            <a:prstGeom prst="round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449" tIns="36449" rIns="36449" bIns="36449" rtlCol="0" anchor="ctr"/>
            <a:lstStyle/>
            <a:p>
              <a:pPr algn="ctr"/>
              <a:r>
                <a:rPr lang="ru-RU" sz="1600"/>
                <a:t>Конечные заказчики</a:t>
              </a:r>
            </a:p>
          </p:txBody>
        </p:sp>
        <p:cxnSp>
          <p:nvCxnSpPr>
            <p:cNvPr id="23" name="Straight Arrow Connector 22"/>
            <p:cNvCxnSpPr>
              <a:stCxn id="10" idx="3"/>
              <a:endCxn id="11" idx="1"/>
            </p:cNvCxnSpPr>
            <p:nvPr/>
          </p:nvCxnSpPr>
          <p:spPr bwMode="gray">
            <a:xfrm>
              <a:off x="1955360" y="3254109"/>
              <a:ext cx="480293" cy="0"/>
            </a:xfrm>
            <a:prstGeom prst="straightConnector1">
              <a:avLst/>
            </a:prstGeom>
            <a:ln w="38100">
              <a:solidFill>
                <a:schemeClr val="bg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>
              <a:stCxn id="11" idx="3"/>
              <a:endCxn id="26" idx="1"/>
            </p:cNvCxnSpPr>
            <p:nvPr/>
          </p:nvCxnSpPr>
          <p:spPr bwMode="gray">
            <a:xfrm>
              <a:off x="4055653" y="3254109"/>
              <a:ext cx="480293" cy="0"/>
            </a:xfrm>
            <a:prstGeom prst="straightConnector1">
              <a:avLst/>
            </a:prstGeom>
            <a:ln w="38100">
              <a:solidFill>
                <a:schemeClr val="bg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 bwMode="gray">
            <a:xfrm>
              <a:off x="167340" y="3968348"/>
              <a:ext cx="2016224" cy="812274"/>
            </a:xfrm>
            <a:prstGeom prst="rect">
              <a:avLst/>
            </a:prstGeom>
          </p:spPr>
          <p:txBody>
            <a:bodyPr vert="horz" wrap="square" lIns="36449" tIns="36449" rIns="36449" bIns="36449" rtlCol="0">
              <a:spAutoFit/>
            </a:bodyPr>
            <a:lstStyle/>
            <a:p>
              <a:pPr algn="ctr"/>
              <a:r>
                <a:rPr lang="ru-RU" sz="1200"/>
                <a:t>Развертывание и управление спутниковой инфраструктурой, специально предназначенной для IoT</a:t>
              </a:r>
            </a:p>
          </p:txBody>
        </p:sp>
        <p:sp>
          <p:nvSpPr>
            <p:cNvPr id="69" name="TextBox 68"/>
            <p:cNvSpPr txBox="1"/>
            <p:nvPr/>
          </p:nvSpPr>
          <p:spPr bwMode="gray">
            <a:xfrm>
              <a:off x="2351584" y="4020170"/>
              <a:ext cx="1944216" cy="627608"/>
            </a:xfrm>
            <a:prstGeom prst="rect">
              <a:avLst/>
            </a:prstGeom>
          </p:spPr>
          <p:txBody>
            <a:bodyPr vert="horz" wrap="square" lIns="36449" tIns="36449" rIns="36449" bIns="36449" rtlCol="0">
              <a:spAutoFit/>
            </a:bodyPr>
            <a:lstStyle/>
            <a:p>
              <a:pPr algn="ctr"/>
              <a:r>
                <a:rPr lang="ru-RU" sz="1200"/>
                <a:t>Комплекты «гибридный спутник + наземные комплекты для подключения IoT»</a:t>
              </a:r>
            </a:p>
          </p:txBody>
        </p:sp>
        <p:sp>
          <p:nvSpPr>
            <p:cNvPr id="71" name="TextBox 70"/>
            <p:cNvSpPr txBox="1"/>
            <p:nvPr/>
          </p:nvSpPr>
          <p:spPr bwMode="gray">
            <a:xfrm>
              <a:off x="4383809" y="4040356"/>
              <a:ext cx="1819312" cy="627608"/>
            </a:xfrm>
            <a:prstGeom prst="rect">
              <a:avLst/>
            </a:prstGeom>
          </p:spPr>
          <p:txBody>
            <a:bodyPr vert="horz" wrap="square" lIns="36449" tIns="36449" rIns="36449" bIns="36449" rtlCol="0">
              <a:spAutoFit/>
            </a:bodyPr>
            <a:lstStyle/>
            <a:p>
              <a:pPr algn="ctr"/>
              <a:r>
                <a:rPr lang="ru-RU" sz="1200"/>
                <a:t>Сквозное решение, включая объекты и приложения</a:t>
              </a:r>
            </a:p>
          </p:txBody>
        </p:sp>
        <p:sp>
          <p:nvSpPr>
            <p:cNvPr id="26" name="Rounded Rectangle 42"/>
            <p:cNvSpPr/>
            <p:nvPr/>
          </p:nvSpPr>
          <p:spPr bwMode="gray">
            <a:xfrm>
              <a:off x="4535946" y="2708920"/>
              <a:ext cx="1620000" cy="1090378"/>
            </a:xfrm>
            <a:prstGeom prst="roundRect">
              <a:avLst/>
            </a:prstGeom>
            <a:noFill/>
            <a:ln w="38100"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449" tIns="36449" rIns="36449" bIns="36449" rtlCol="0" anchor="ctr"/>
            <a:lstStyle/>
            <a:p>
              <a:pPr algn="ctr"/>
              <a:r>
                <a:rPr lang="ru-RU" sz="1400" dirty="0">
                  <a:solidFill>
                    <a:schemeClr val="bg2"/>
                  </a:solidFill>
                </a:rPr>
                <a:t>Поставщики услуг и интеграторы</a:t>
              </a:r>
            </a:p>
          </p:txBody>
        </p:sp>
        <p:cxnSp>
          <p:nvCxnSpPr>
            <p:cNvPr id="29" name="Straight Arrow Connector 23"/>
            <p:cNvCxnSpPr>
              <a:stCxn id="26" idx="3"/>
              <a:endCxn id="13" idx="1"/>
            </p:cNvCxnSpPr>
            <p:nvPr/>
          </p:nvCxnSpPr>
          <p:spPr bwMode="gray">
            <a:xfrm>
              <a:off x="6155946" y="3254109"/>
              <a:ext cx="480294" cy="0"/>
            </a:xfrm>
            <a:prstGeom prst="straightConnector1">
              <a:avLst/>
            </a:prstGeom>
            <a:ln w="38100">
              <a:solidFill>
                <a:schemeClr val="bg2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ZoneTexte 21"/>
            <p:cNvSpPr txBox="1"/>
            <p:nvPr/>
          </p:nvSpPr>
          <p:spPr bwMode="gray">
            <a:xfrm>
              <a:off x="4655840" y="2420888"/>
              <a:ext cx="1152128" cy="258276"/>
            </a:xfrm>
            <a:prstGeom prst="rect">
              <a:avLst/>
            </a:prstGeom>
          </p:spPr>
          <p:txBody>
            <a:bodyPr vert="horz" wrap="square" lIns="36449" tIns="36449" rIns="36449" bIns="36449" rtlCol="0">
              <a:spAutoFit/>
            </a:bodyPr>
            <a:lstStyle/>
            <a:p>
              <a:r>
                <a:rPr lang="ru-RU" sz="1200" i="1">
                  <a:solidFill>
                    <a:schemeClr val="bg2"/>
                  </a:solidFill>
                </a:rPr>
                <a:t>Опция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68544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16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4469" y="1700808"/>
            <a:ext cx="1016016" cy="1008000"/>
          </a:xfrm>
          <a:custGeom>
            <a:avLst/>
            <a:gdLst>
              <a:gd name="connsiteX0" fmla="*/ 588481 w 1176962"/>
              <a:gd name="connsiteY0" fmla="*/ 0 h 1176962"/>
              <a:gd name="connsiteX1" fmla="*/ 1176962 w 1176962"/>
              <a:gd name="connsiteY1" fmla="*/ 588481 h 1176962"/>
              <a:gd name="connsiteX2" fmla="*/ 588481 w 1176962"/>
              <a:gd name="connsiteY2" fmla="*/ 1176962 h 1176962"/>
              <a:gd name="connsiteX3" fmla="*/ 0 w 1176962"/>
              <a:gd name="connsiteY3" fmla="*/ 588481 h 1176962"/>
              <a:gd name="connsiteX4" fmla="*/ 588481 w 1176962"/>
              <a:gd name="connsiteY4" fmla="*/ 0 h 1176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76962" h="1176962">
                <a:moveTo>
                  <a:pt x="588481" y="0"/>
                </a:moveTo>
                <a:cubicBezTo>
                  <a:pt x="913490" y="0"/>
                  <a:pt x="1176962" y="263472"/>
                  <a:pt x="1176962" y="588481"/>
                </a:cubicBezTo>
                <a:cubicBezTo>
                  <a:pt x="1176962" y="913490"/>
                  <a:pt x="913490" y="1176962"/>
                  <a:pt x="588481" y="1176962"/>
                </a:cubicBezTo>
                <a:cubicBezTo>
                  <a:pt x="263472" y="1176962"/>
                  <a:pt x="0" y="913490"/>
                  <a:pt x="0" y="588481"/>
                </a:cubicBezTo>
                <a:cubicBezTo>
                  <a:pt x="0" y="263472"/>
                  <a:pt x="263472" y="0"/>
                  <a:pt x="588481" y="0"/>
                </a:cubicBezTo>
                <a:close/>
              </a:path>
            </a:pathLst>
          </a:custGeom>
          <a:ln w="41275">
            <a:solidFill>
              <a:schemeClr val="bg1"/>
            </a:solidFill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 err="1">
              <a:latin typeface="Verdana"/>
              <a:ea typeface="+mj-ea"/>
              <a:cs typeface="Verdana"/>
              <a:sym typeface="Verdana"/>
            </a:endParaRPr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239998" y="105845"/>
            <a:ext cx="9981707" cy="707886"/>
          </a:xfrm>
        </p:spPr>
        <p:txBody>
          <a:bodyPr/>
          <a:lstStyle/>
          <a:p>
            <a:r>
              <a:rPr lang="ru-RU" sz="2000" dirty="0"/>
              <a:t>Многие сценарии применения </a:t>
            </a:r>
            <a:r>
              <a:rPr lang="ru-RU" sz="2000" dirty="0" err="1"/>
              <a:t>IoT</a:t>
            </a:r>
            <a:r>
              <a:rPr lang="ru-RU" sz="2000" dirty="0"/>
              <a:t> могут выигрышно использовать </a:t>
            </a:r>
            <a:br>
              <a:rPr lang="ru-RU" sz="2000" dirty="0"/>
            </a:br>
            <a:r>
              <a:rPr lang="ru-RU" sz="2000" dirty="0"/>
              <a:t>глобальное покрытие, СУЩЕСТВУЕТ 3 основные вертикали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073C04-E21C-4C39-B727-E5869D7DC2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9998" y="862025"/>
            <a:ext cx="11726862" cy="794404"/>
          </a:xfrm>
        </p:spPr>
        <p:txBody>
          <a:bodyPr/>
          <a:lstStyle/>
          <a:p>
            <a:pPr marL="285750" indent="-285750">
              <a:buClr>
                <a:schemeClr val="bg2"/>
              </a:buClr>
              <a:buSzPct val="50000"/>
              <a:buFont typeface="Wingdings" panose="05000000000000000000" pitchFamily="2" charset="2"/>
              <a:buChar char="ü"/>
            </a:pPr>
            <a:r>
              <a:rPr lang="ru-RU" sz="1800" dirty="0"/>
              <a:t>Потенциальный объем рынка – миллиарды объектов LPWA</a:t>
            </a:r>
          </a:p>
          <a:p>
            <a:pPr marL="285750" indent="-285750">
              <a:buClr>
                <a:schemeClr val="bg2"/>
              </a:buClr>
              <a:buSzPct val="50000"/>
              <a:buFont typeface="Wingdings" panose="05000000000000000000" pitchFamily="2" charset="2"/>
              <a:buChar char="ü"/>
            </a:pPr>
            <a:r>
              <a:rPr lang="ru-RU" sz="1800" dirty="0"/>
              <a:t>3 основные вертикали объединят 80% потенциального спутникового рынка </a:t>
            </a:r>
            <a:r>
              <a:rPr lang="ru-RU" sz="1800" dirty="0" err="1"/>
              <a:t>IoT</a:t>
            </a:r>
            <a:r>
              <a:rPr lang="ru-RU" sz="1800" dirty="0"/>
              <a:t> </a:t>
            </a:r>
            <a:r>
              <a:rPr lang="ru-RU" sz="1800" b="1" dirty="0"/>
              <a:t>к 2030 г.</a:t>
            </a:r>
          </a:p>
          <a:p>
            <a:pPr marL="285750" indent="-285750">
              <a:buClr>
                <a:schemeClr val="bg2"/>
              </a:buClr>
              <a:buSzPct val="50000"/>
              <a:buFont typeface="Wingdings" panose="05000000000000000000" pitchFamily="2" charset="2"/>
              <a:buChar char="ü"/>
            </a:pPr>
            <a:endParaRPr lang="en-US" sz="1800" dirty="0"/>
          </a:p>
        </p:txBody>
      </p:sp>
      <p:sp>
        <p:nvSpPr>
          <p:cNvPr id="32" name="AutoShape 27" descr="Résultat de recherche d'images pour &quot;renault logo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5" name="Picture 44" descr="A picture containing outdoor, sky, building, boat&#10;&#10;Description automatically generated">
            <a:extLst>
              <a:ext uri="{FF2B5EF4-FFF2-40B4-BE49-F238E27FC236}">
                <a16:creationId xmlns:a16="http://schemas.microsoft.com/office/drawing/2014/main" id="{C8499D5E-D0C4-4641-8ED5-65AFB6E318A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503" y="4483056"/>
            <a:ext cx="1016017" cy="1012740"/>
          </a:xfrm>
          <a:custGeom>
            <a:avLst/>
            <a:gdLst>
              <a:gd name="connsiteX0" fmla="*/ 588481 w 1176962"/>
              <a:gd name="connsiteY0" fmla="*/ 0 h 1176962"/>
              <a:gd name="connsiteX1" fmla="*/ 1176962 w 1176962"/>
              <a:gd name="connsiteY1" fmla="*/ 588481 h 1176962"/>
              <a:gd name="connsiteX2" fmla="*/ 588481 w 1176962"/>
              <a:gd name="connsiteY2" fmla="*/ 1176962 h 1176962"/>
              <a:gd name="connsiteX3" fmla="*/ 0 w 1176962"/>
              <a:gd name="connsiteY3" fmla="*/ 588481 h 1176962"/>
              <a:gd name="connsiteX4" fmla="*/ 588481 w 1176962"/>
              <a:gd name="connsiteY4" fmla="*/ 0 h 1176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76962" h="1176962">
                <a:moveTo>
                  <a:pt x="588481" y="0"/>
                </a:moveTo>
                <a:cubicBezTo>
                  <a:pt x="913490" y="0"/>
                  <a:pt x="1176962" y="263472"/>
                  <a:pt x="1176962" y="588481"/>
                </a:cubicBezTo>
                <a:cubicBezTo>
                  <a:pt x="1176962" y="913490"/>
                  <a:pt x="913490" y="1176962"/>
                  <a:pt x="588481" y="1176962"/>
                </a:cubicBezTo>
                <a:cubicBezTo>
                  <a:pt x="263472" y="1176962"/>
                  <a:pt x="0" y="913490"/>
                  <a:pt x="0" y="588481"/>
                </a:cubicBezTo>
                <a:cubicBezTo>
                  <a:pt x="0" y="263472"/>
                  <a:pt x="263472" y="0"/>
                  <a:pt x="588481" y="0"/>
                </a:cubicBezTo>
                <a:close/>
              </a:path>
            </a:pathLst>
          </a:custGeom>
          <a:ln w="41275">
            <a:solidFill>
              <a:schemeClr val="bg1"/>
            </a:solidFill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6" name="Picture 45" descr="A group of sheep grazing on a lush green field&#10;&#10;Description automatically generated">
            <a:extLst>
              <a:ext uri="{FF2B5EF4-FFF2-40B4-BE49-F238E27FC236}">
                <a16:creationId xmlns:a16="http://schemas.microsoft.com/office/drawing/2014/main" id="{E395E638-8540-4109-A2AB-8B14F63D02A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919" y="3077231"/>
            <a:ext cx="1011116" cy="1008000"/>
          </a:xfrm>
          <a:custGeom>
            <a:avLst/>
            <a:gdLst>
              <a:gd name="connsiteX0" fmla="*/ 588481 w 1176962"/>
              <a:gd name="connsiteY0" fmla="*/ 0 h 1176962"/>
              <a:gd name="connsiteX1" fmla="*/ 1176962 w 1176962"/>
              <a:gd name="connsiteY1" fmla="*/ 588481 h 1176962"/>
              <a:gd name="connsiteX2" fmla="*/ 588481 w 1176962"/>
              <a:gd name="connsiteY2" fmla="*/ 1176962 h 1176962"/>
              <a:gd name="connsiteX3" fmla="*/ 0 w 1176962"/>
              <a:gd name="connsiteY3" fmla="*/ 588481 h 1176962"/>
              <a:gd name="connsiteX4" fmla="*/ 588481 w 1176962"/>
              <a:gd name="connsiteY4" fmla="*/ 0 h 1176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76962" h="1176962">
                <a:moveTo>
                  <a:pt x="588481" y="0"/>
                </a:moveTo>
                <a:cubicBezTo>
                  <a:pt x="913490" y="0"/>
                  <a:pt x="1176962" y="263472"/>
                  <a:pt x="1176962" y="588481"/>
                </a:cubicBezTo>
                <a:cubicBezTo>
                  <a:pt x="1176962" y="913490"/>
                  <a:pt x="913490" y="1176962"/>
                  <a:pt x="588481" y="1176962"/>
                </a:cubicBezTo>
                <a:cubicBezTo>
                  <a:pt x="263472" y="1176962"/>
                  <a:pt x="0" y="913490"/>
                  <a:pt x="0" y="588481"/>
                </a:cubicBezTo>
                <a:cubicBezTo>
                  <a:pt x="0" y="263472"/>
                  <a:pt x="263472" y="0"/>
                  <a:pt x="588481" y="0"/>
                </a:cubicBezTo>
                <a:close/>
              </a:path>
            </a:pathLst>
          </a:custGeom>
          <a:ln w="41275">
            <a:solidFill>
              <a:schemeClr val="bg1"/>
            </a:solidFill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</p:pic>
      <p:sp>
        <p:nvSpPr>
          <p:cNvPr id="49" name="Rectangle 48"/>
          <p:cNvSpPr/>
          <p:nvPr/>
        </p:nvSpPr>
        <p:spPr bwMode="gray">
          <a:xfrm>
            <a:off x="2423607" y="1842895"/>
            <a:ext cx="1623714" cy="702586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449" tIns="144000" rIns="36449" bIns="36449" rtlCol="0" anchor="t"/>
          <a:lstStyle/>
          <a:p>
            <a:pPr algn="r"/>
            <a:r>
              <a:rPr lang="ru-RU" sz="1400" b="1" dirty="0">
                <a:solidFill>
                  <a:schemeClr val="tx2"/>
                </a:solidFill>
              </a:rPr>
              <a:t>Грузоперевозки и логистика</a:t>
            </a:r>
          </a:p>
        </p:txBody>
      </p:sp>
      <p:sp>
        <p:nvSpPr>
          <p:cNvPr id="50" name="Rectangle 49"/>
          <p:cNvSpPr/>
          <p:nvPr/>
        </p:nvSpPr>
        <p:spPr bwMode="gray">
          <a:xfrm>
            <a:off x="2207569" y="3149663"/>
            <a:ext cx="1839751" cy="777632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449" tIns="144000" rIns="36449" bIns="36449" rtlCol="0" anchor="t"/>
          <a:lstStyle/>
          <a:p>
            <a:pPr algn="r"/>
            <a:r>
              <a:rPr lang="ru-RU" sz="1400" b="1" dirty="0">
                <a:solidFill>
                  <a:schemeClr val="tx2"/>
                </a:solidFill>
              </a:rPr>
              <a:t>Интеллектуальное сельское хозяйство</a:t>
            </a:r>
          </a:p>
        </p:txBody>
      </p:sp>
      <p:sp>
        <p:nvSpPr>
          <p:cNvPr id="51" name="Rectangle 50"/>
          <p:cNvSpPr/>
          <p:nvPr/>
        </p:nvSpPr>
        <p:spPr bwMode="gray">
          <a:xfrm>
            <a:off x="1700589" y="4583156"/>
            <a:ext cx="2346732" cy="1279410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449" tIns="144000" rIns="36449" bIns="36449" rtlCol="0" anchor="t"/>
          <a:lstStyle/>
          <a:p>
            <a:pPr algn="r"/>
            <a:r>
              <a:rPr lang="ru-RU" sz="1400" b="1">
                <a:solidFill>
                  <a:schemeClr val="tx2"/>
                </a:solidFill>
              </a:rPr>
              <a:t>Энергетика </a:t>
            </a:r>
          </a:p>
          <a:p>
            <a:pPr algn="r"/>
            <a:r>
              <a:rPr lang="ru-RU" sz="1400" b="1">
                <a:solidFill>
                  <a:schemeClr val="tx2"/>
                </a:solidFill>
              </a:rPr>
              <a:t>и коммунальные сети</a:t>
            </a:r>
          </a:p>
        </p:txBody>
      </p:sp>
      <p:sp>
        <p:nvSpPr>
          <p:cNvPr id="52" name="Content Placeholder 1"/>
          <p:cNvSpPr txBox="1">
            <a:spLocks/>
          </p:cNvSpPr>
          <p:nvPr/>
        </p:nvSpPr>
        <p:spPr bwMode="gray">
          <a:xfrm>
            <a:off x="4295800" y="1721700"/>
            <a:ext cx="7338390" cy="116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72898" tIns="72898" rIns="72898" bIns="72898" rtlCol="0" anchor="ctr">
            <a:noAutofit/>
          </a:bodyPr>
          <a:lstStyle>
            <a:lvl1pPr marL="342900" indent="-287338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80000"/>
              <a:buFont typeface="Webdings" panose="05030102010509060703" pitchFamily="18" charset="2"/>
              <a:buChar char="/"/>
              <a:defRPr sz="2000" b="1" i="0" kern="1200" baseline="0">
                <a:solidFill>
                  <a:srgbClr val="003C78"/>
                </a:solidFill>
                <a:latin typeface="Verdana"/>
                <a:ea typeface="+mn-ea"/>
                <a:cs typeface="Verdana"/>
              </a:defRPr>
            </a:lvl1pPr>
            <a:lvl2pPr marL="627063" indent="-266700" algn="l" defTabSz="457200" rtl="0" eaLnBrk="1" latinLnBrk="0" hangingPunct="1">
              <a:spcBef>
                <a:spcPct val="20000"/>
              </a:spcBef>
              <a:buClr>
                <a:srgbClr val="003C78"/>
              </a:buClr>
              <a:buSzPct val="80000"/>
              <a:buFont typeface="Wingdings" panose="05000000000000000000" pitchFamily="2" charset="2"/>
              <a:buChar char="è"/>
              <a:defRPr sz="1800" b="1" i="0" kern="1200" baseline="0">
                <a:solidFill>
                  <a:srgbClr val="7F7F7F"/>
                </a:solidFill>
                <a:latin typeface="Verdana"/>
                <a:ea typeface="+mn-ea"/>
                <a:cs typeface="Verdana"/>
              </a:defRPr>
            </a:lvl2pPr>
            <a:lvl3pPr marL="855663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à"/>
              <a:tabLst/>
              <a:defRPr sz="1600" b="1" i="0" kern="1200">
                <a:solidFill>
                  <a:schemeClr val="accent2"/>
                </a:solidFill>
                <a:latin typeface="Verdana"/>
                <a:ea typeface="+mn-ea"/>
                <a:cs typeface="Verdana"/>
              </a:defRPr>
            </a:lvl3pPr>
            <a:lvl4pPr marL="1166813" indent="-18415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1435100" indent="-176213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buClr>
                <a:schemeClr val="bg2"/>
              </a:buClr>
              <a:buFont typeface="Wingdings 3" panose="05040102010807070707" pitchFamily="18" charset="2"/>
              <a:buChar char=""/>
            </a:pPr>
            <a:r>
              <a:rPr lang="ru-RU" sz="1200" dirty="0">
                <a:solidFill>
                  <a:schemeClr val="bg2"/>
                </a:solidFill>
              </a:rPr>
              <a:t>Управление парком </a:t>
            </a:r>
            <a:r>
              <a:rPr lang="ru-RU" sz="1200" b="0" dirty="0">
                <a:solidFill>
                  <a:schemeClr val="tx1"/>
                </a:solidFill>
              </a:rPr>
              <a:t>грузовых судов, поездов и грузовых автомобилей, </a:t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200" b="0" dirty="0">
                <a:solidFill>
                  <a:schemeClr val="tx1"/>
                </a:solidFill>
              </a:rPr>
              <a:t>а также </a:t>
            </a:r>
            <a:r>
              <a:rPr lang="ru-RU" sz="1200" dirty="0">
                <a:solidFill>
                  <a:schemeClr val="bg2"/>
                </a:solidFill>
              </a:rPr>
              <a:t>отслеживание и мониторинг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b="0" dirty="0">
                <a:solidFill>
                  <a:schemeClr val="tx1"/>
                </a:solidFill>
              </a:rPr>
              <a:t>контейнеров, вагонов и стандартных поддонов</a:t>
            </a:r>
          </a:p>
          <a:p>
            <a:pPr>
              <a:spcBef>
                <a:spcPts val="1200"/>
              </a:spcBef>
              <a:buClr>
                <a:schemeClr val="bg2"/>
              </a:buClr>
              <a:buFont typeface="Wingdings 3" panose="05040102010807070707" pitchFamily="18" charset="2"/>
              <a:buChar char=""/>
            </a:pPr>
            <a:r>
              <a:rPr lang="ru-RU" sz="1200" b="0" dirty="0">
                <a:solidFill>
                  <a:schemeClr val="tx1"/>
                </a:solidFill>
              </a:rPr>
              <a:t>Спутники </a:t>
            </a:r>
            <a:r>
              <a:rPr lang="ru-RU" sz="1200" dirty="0">
                <a:solidFill>
                  <a:schemeClr val="bg2"/>
                </a:solidFill>
              </a:rPr>
              <a:t>призваны устранить слепые зоны </a:t>
            </a:r>
            <a:r>
              <a:rPr lang="ru-RU" sz="1200" b="0" dirty="0">
                <a:solidFill>
                  <a:schemeClr val="tx1"/>
                </a:solidFill>
              </a:rPr>
              <a:t>во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b="0" dirty="0">
                <a:solidFill>
                  <a:schemeClr val="tx1"/>
                </a:solidFill>
              </a:rPr>
              <a:t>всемирных цепях поставок, </a:t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200" b="0" dirty="0">
                <a:solidFill>
                  <a:schemeClr val="tx1"/>
                </a:solidFill>
              </a:rPr>
              <a:t>обеспечивая превосходную эффективность и наглядность</a:t>
            </a:r>
          </a:p>
        </p:txBody>
      </p:sp>
      <p:sp>
        <p:nvSpPr>
          <p:cNvPr id="53" name="Content Placeholder 1"/>
          <p:cNvSpPr txBox="1">
            <a:spLocks/>
          </p:cNvSpPr>
          <p:nvPr/>
        </p:nvSpPr>
        <p:spPr bwMode="gray">
          <a:xfrm>
            <a:off x="4295800" y="3089014"/>
            <a:ext cx="7338390" cy="116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72898" tIns="72898" rIns="72898" bIns="72898" rtlCol="0" anchor="ctr">
            <a:noAutofit/>
          </a:bodyPr>
          <a:lstStyle>
            <a:lvl1pPr marL="342900" indent="-287338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80000"/>
              <a:buFont typeface="Webdings" panose="05030102010509060703" pitchFamily="18" charset="2"/>
              <a:buChar char="/"/>
              <a:defRPr sz="2000" b="1" i="0" kern="1200" baseline="0">
                <a:solidFill>
                  <a:srgbClr val="003C78"/>
                </a:solidFill>
                <a:latin typeface="Verdana"/>
                <a:ea typeface="+mn-ea"/>
                <a:cs typeface="Verdana"/>
              </a:defRPr>
            </a:lvl1pPr>
            <a:lvl2pPr marL="627063" indent="-266700" algn="l" defTabSz="457200" rtl="0" eaLnBrk="1" latinLnBrk="0" hangingPunct="1">
              <a:spcBef>
                <a:spcPct val="20000"/>
              </a:spcBef>
              <a:buClr>
                <a:srgbClr val="003C78"/>
              </a:buClr>
              <a:buSzPct val="80000"/>
              <a:buFont typeface="Wingdings" panose="05000000000000000000" pitchFamily="2" charset="2"/>
              <a:buChar char="è"/>
              <a:defRPr sz="1800" b="1" i="0" kern="1200" baseline="0">
                <a:solidFill>
                  <a:srgbClr val="7F7F7F"/>
                </a:solidFill>
                <a:latin typeface="Verdana"/>
                <a:ea typeface="+mn-ea"/>
                <a:cs typeface="Verdana"/>
              </a:defRPr>
            </a:lvl2pPr>
            <a:lvl3pPr marL="855663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à"/>
              <a:tabLst/>
              <a:defRPr sz="1600" b="1" i="0" kern="1200">
                <a:solidFill>
                  <a:schemeClr val="accent2"/>
                </a:solidFill>
                <a:latin typeface="Verdana"/>
                <a:ea typeface="+mn-ea"/>
                <a:cs typeface="Verdana"/>
              </a:defRPr>
            </a:lvl3pPr>
            <a:lvl4pPr marL="1166813" indent="-18415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1435100" indent="-176213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buClr>
                <a:schemeClr val="bg2"/>
              </a:buClr>
              <a:buFont typeface="Wingdings 3" panose="05040102010807070707" pitchFamily="18" charset="2"/>
              <a:buChar char=""/>
            </a:pPr>
            <a:r>
              <a:rPr lang="ru-RU" sz="1200">
                <a:solidFill>
                  <a:schemeClr val="bg2"/>
                </a:solidFill>
              </a:rPr>
              <a:t>Отслеживание</a:t>
            </a:r>
            <a:r>
              <a:rPr lang="ru-RU" sz="1200" b="0">
                <a:solidFill>
                  <a:schemeClr val="bg2"/>
                </a:solidFill>
              </a:rPr>
              <a:t> </a:t>
            </a:r>
            <a:r>
              <a:rPr lang="ru-RU" sz="1200">
                <a:solidFill>
                  <a:schemeClr val="bg2"/>
                </a:solidFill>
              </a:rPr>
              <a:t>поголовья</a:t>
            </a:r>
            <a:r>
              <a:rPr lang="ru-RU" sz="1200" b="0">
                <a:solidFill>
                  <a:schemeClr val="bg2"/>
                </a:solidFill>
              </a:rPr>
              <a:t> </a:t>
            </a:r>
            <a:r>
              <a:rPr lang="ru-RU" sz="1200" b="0">
                <a:solidFill>
                  <a:schemeClr val="tx1"/>
                </a:solidFill>
              </a:rPr>
              <a:t>и его мониторинг, </a:t>
            </a:r>
            <a:r>
              <a:rPr lang="ru-RU" sz="1200">
                <a:solidFill>
                  <a:schemeClr val="bg2"/>
                </a:solidFill>
              </a:rPr>
              <a:t>цифровизация</a:t>
            </a:r>
            <a:r>
              <a:rPr lang="ru-RU" sz="1200" b="0">
                <a:solidFill>
                  <a:schemeClr val="tx1"/>
                </a:solidFill>
              </a:rPr>
              <a:t> сельскохозяйственного оборудования, </a:t>
            </a:r>
            <a:r>
              <a:rPr lang="ru-RU" sz="1200">
                <a:solidFill>
                  <a:schemeClr val="bg2"/>
                </a:solidFill>
              </a:rPr>
              <a:t>мониторинг почв</a:t>
            </a:r>
            <a:r>
              <a:rPr lang="ru-RU" sz="1200" b="0">
                <a:solidFill>
                  <a:schemeClr val="tx1"/>
                </a:solidFill>
              </a:rPr>
              <a:t> и управление рыболовством</a:t>
            </a:r>
          </a:p>
          <a:p>
            <a:pPr>
              <a:spcBef>
                <a:spcPts val="1200"/>
              </a:spcBef>
              <a:buClr>
                <a:schemeClr val="bg2"/>
              </a:buClr>
              <a:buFont typeface="Wingdings 3" panose="05040102010807070707" pitchFamily="18" charset="2"/>
              <a:buChar char=""/>
            </a:pPr>
            <a:r>
              <a:rPr lang="ru-RU" sz="1200" b="0">
                <a:solidFill>
                  <a:schemeClr val="tx1"/>
                </a:solidFill>
              </a:rPr>
              <a:t>Спутниковая технология </a:t>
            </a:r>
            <a:r>
              <a:rPr lang="ru-RU" sz="1200">
                <a:solidFill>
                  <a:schemeClr val="bg2"/>
                </a:solidFill>
              </a:rPr>
              <a:t>может сделать эти приложения доступными </a:t>
            </a:r>
            <a:r>
              <a:rPr lang="ru-RU" sz="1200" b="0">
                <a:solidFill>
                  <a:schemeClr val="tx1"/>
                </a:solidFill>
              </a:rPr>
              <a:t>для большого количества ферм, плохо охваченных наземными средствами</a:t>
            </a:r>
          </a:p>
        </p:txBody>
      </p:sp>
      <p:sp>
        <p:nvSpPr>
          <p:cNvPr id="54" name="Content Placeholder 1"/>
          <p:cNvSpPr txBox="1">
            <a:spLocks/>
          </p:cNvSpPr>
          <p:nvPr/>
        </p:nvSpPr>
        <p:spPr bwMode="gray">
          <a:xfrm>
            <a:off x="4295800" y="4496594"/>
            <a:ext cx="7338388" cy="1164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lIns="72898" tIns="72898" rIns="72898" bIns="72898" rtlCol="0" anchor="ctr">
            <a:noAutofit/>
          </a:bodyPr>
          <a:lstStyle>
            <a:lvl1pPr marL="342900" indent="-287338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80000"/>
              <a:buFont typeface="Webdings" panose="05030102010509060703" pitchFamily="18" charset="2"/>
              <a:buChar char="/"/>
              <a:defRPr sz="2000" b="1" i="0" kern="1200" baseline="0">
                <a:solidFill>
                  <a:srgbClr val="003C78"/>
                </a:solidFill>
                <a:latin typeface="Verdana"/>
                <a:ea typeface="+mn-ea"/>
                <a:cs typeface="Verdana"/>
              </a:defRPr>
            </a:lvl1pPr>
            <a:lvl2pPr marL="627063" indent="-266700" algn="l" defTabSz="457200" rtl="0" eaLnBrk="1" latinLnBrk="0" hangingPunct="1">
              <a:spcBef>
                <a:spcPct val="20000"/>
              </a:spcBef>
              <a:buClr>
                <a:srgbClr val="003C78"/>
              </a:buClr>
              <a:buSzPct val="80000"/>
              <a:buFont typeface="Wingdings" panose="05000000000000000000" pitchFamily="2" charset="2"/>
              <a:buChar char="è"/>
              <a:defRPr sz="1800" b="1" i="0" kern="1200" baseline="0">
                <a:solidFill>
                  <a:srgbClr val="7F7F7F"/>
                </a:solidFill>
                <a:latin typeface="Verdana"/>
                <a:ea typeface="+mn-ea"/>
                <a:cs typeface="Verdana"/>
              </a:defRPr>
            </a:lvl2pPr>
            <a:lvl3pPr marL="855663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à"/>
              <a:tabLst/>
              <a:defRPr sz="1600" b="1" i="0" kern="1200">
                <a:solidFill>
                  <a:schemeClr val="accent2"/>
                </a:solidFill>
                <a:latin typeface="Verdana"/>
                <a:ea typeface="+mn-ea"/>
                <a:cs typeface="Verdana"/>
              </a:defRPr>
            </a:lvl3pPr>
            <a:lvl4pPr marL="1166813" indent="-18415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1435100" indent="-176213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buClr>
                <a:schemeClr val="bg2"/>
              </a:buClr>
              <a:buFont typeface="Wingdings 3" panose="05040102010807070707" pitchFamily="18" charset="2"/>
              <a:buChar char=""/>
            </a:pPr>
            <a:r>
              <a:rPr lang="ru-RU" sz="1200" dirty="0">
                <a:solidFill>
                  <a:schemeClr val="bg2"/>
                </a:solidFill>
              </a:rPr>
              <a:t>Безопасность, эффективность </a:t>
            </a:r>
            <a:r>
              <a:rPr lang="ru-RU" sz="1200" b="0" dirty="0">
                <a:solidFill>
                  <a:schemeClr val="tx2"/>
                </a:solidFill>
              </a:rPr>
              <a:t>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>
                <a:solidFill>
                  <a:schemeClr val="bg2"/>
                </a:solidFill>
              </a:rPr>
              <a:t>непрерывность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b="0" dirty="0">
                <a:solidFill>
                  <a:schemeClr val="tx2"/>
                </a:solidFill>
              </a:rPr>
              <a:t>в осуществлении </a:t>
            </a:r>
            <a:r>
              <a:rPr lang="ru-RU" sz="1200" dirty="0">
                <a:solidFill>
                  <a:schemeClr val="bg2"/>
                </a:solidFill>
              </a:rPr>
              <a:t>критически важных операций </a:t>
            </a:r>
            <a:r>
              <a:rPr lang="ru-RU" sz="1200" b="0" dirty="0">
                <a:solidFill>
                  <a:schemeClr val="tx2"/>
                </a:solidFill>
              </a:rPr>
              <a:t>благодаря мониторингу </a:t>
            </a:r>
            <a:r>
              <a:rPr lang="ru-RU" sz="1200" dirty="0">
                <a:solidFill>
                  <a:schemeClr val="bg2"/>
                </a:solidFill>
              </a:rPr>
              <a:t>топливных и газовых хранилищ</a:t>
            </a:r>
            <a:r>
              <a:rPr lang="ru-RU" sz="1200" b="0" dirty="0">
                <a:solidFill>
                  <a:schemeClr val="tx2"/>
                </a:solidFill>
              </a:rPr>
              <a:t>, нефте- и газо</a:t>
            </a:r>
            <a:r>
              <a:rPr lang="ru-RU" sz="1200" dirty="0">
                <a:solidFill>
                  <a:schemeClr val="bg2"/>
                </a:solidFill>
              </a:rPr>
              <a:t>проводов, горнодобывающих</a:t>
            </a:r>
            <a:r>
              <a:rPr lang="ru-RU" sz="1200" b="0" dirty="0">
                <a:solidFill>
                  <a:schemeClr val="bg2"/>
                </a:solidFill>
              </a:rPr>
              <a:t> </a:t>
            </a:r>
            <a:r>
              <a:rPr lang="ru-RU" sz="1200" b="0" dirty="0">
                <a:solidFill>
                  <a:schemeClr val="tx2"/>
                </a:solidFill>
              </a:rPr>
              <a:t>предприятий</a:t>
            </a:r>
          </a:p>
          <a:p>
            <a:pPr>
              <a:spcBef>
                <a:spcPts val="1200"/>
              </a:spcBef>
              <a:buClr>
                <a:schemeClr val="bg2"/>
              </a:buClr>
              <a:buFont typeface="Wingdings 3" panose="05040102010807070707" pitchFamily="18" charset="2"/>
              <a:buChar char=""/>
            </a:pPr>
            <a:r>
              <a:rPr lang="ru-RU" sz="1200" b="0" dirty="0">
                <a:solidFill>
                  <a:schemeClr val="tx2"/>
                </a:solidFill>
              </a:rPr>
              <a:t>Спутники обеспечат </a:t>
            </a:r>
            <a:r>
              <a:rPr lang="ru-RU" sz="1200" dirty="0">
                <a:solidFill>
                  <a:schemeClr val="bg2"/>
                </a:solidFill>
              </a:rPr>
              <a:t>надежное и непрерывное покрытие  </a:t>
            </a:r>
            <a:br>
              <a:rPr lang="ru-RU" sz="1200" dirty="0">
                <a:solidFill>
                  <a:schemeClr val="bg2"/>
                </a:solidFill>
              </a:rPr>
            </a:br>
            <a:r>
              <a:rPr lang="ru-RU" sz="1200" b="0" dirty="0">
                <a:solidFill>
                  <a:schemeClr val="tx2"/>
                </a:solidFill>
              </a:rPr>
              <a:t>для объектов, расположенных главным образом в </a:t>
            </a:r>
            <a:r>
              <a:rPr lang="ru-RU" sz="1200" dirty="0">
                <a:solidFill>
                  <a:schemeClr val="bg2"/>
                </a:solidFill>
              </a:rPr>
              <a:t>удаленных районах</a:t>
            </a:r>
          </a:p>
        </p:txBody>
      </p:sp>
      <p:sp>
        <p:nvSpPr>
          <p:cNvPr id="7" name="AutoShape 15" descr="Résultat de recherche d'images pour &quot;image camion transport verticale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9277990-B117-4B7D-B720-5F6F317D9405}"/>
              </a:ext>
            </a:extLst>
          </p:cNvPr>
          <p:cNvCxnSpPr>
            <a:cxnSpLocks/>
          </p:cNvCxnSpPr>
          <p:nvPr/>
        </p:nvCxnSpPr>
        <p:spPr>
          <a:xfrm>
            <a:off x="4228036" y="1774800"/>
            <a:ext cx="0" cy="109264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A497535-5A19-475D-BB89-C53890117AEB}"/>
              </a:ext>
            </a:extLst>
          </p:cNvPr>
          <p:cNvCxnSpPr>
            <a:cxnSpLocks/>
          </p:cNvCxnSpPr>
          <p:nvPr/>
        </p:nvCxnSpPr>
        <p:spPr>
          <a:xfrm>
            <a:off x="4218309" y="3207840"/>
            <a:ext cx="0" cy="87731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C99ADD-792E-4992-B3F4-9DD61BF75828}"/>
              </a:ext>
            </a:extLst>
          </p:cNvPr>
          <p:cNvCxnSpPr>
            <a:cxnSpLocks/>
          </p:cNvCxnSpPr>
          <p:nvPr/>
        </p:nvCxnSpPr>
        <p:spPr>
          <a:xfrm>
            <a:off x="4218309" y="4651919"/>
            <a:ext cx="0" cy="86318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52D7896-A898-4633-B312-A671F9931F2B}"/>
              </a:ext>
            </a:extLst>
          </p:cNvPr>
          <p:cNvSpPr/>
          <p:nvPr/>
        </p:nvSpPr>
        <p:spPr>
          <a:xfrm>
            <a:off x="239998" y="5626346"/>
            <a:ext cx="11341024" cy="707886"/>
          </a:xfrm>
          <a:prstGeom prst="rect">
            <a:avLst/>
          </a:prstGeom>
        </p:spPr>
        <p:txBody>
          <a:bodyPr vert="horz" wrap="square" lIns="0" tIns="72000" rIns="36449" bIns="36449" rtlCol="0" anchor="t">
            <a:noAutofit/>
          </a:bodyPr>
          <a:lstStyle/>
          <a:p>
            <a:pPr marL="285750" indent="-285750">
              <a:lnSpc>
                <a:spcPts val="2400"/>
              </a:lnSpc>
              <a:spcBef>
                <a:spcPts val="600"/>
              </a:spcBef>
              <a:buClr>
                <a:schemeClr val="bg2"/>
              </a:buClr>
              <a:buSzPct val="500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tx2"/>
                </a:solidFill>
              </a:rPr>
              <a:t>20% объектов для описанных вариантов использования могут быть подключены с помощью спутников </a:t>
            </a:r>
            <a:r>
              <a:rPr lang="ru-RU" dirty="0">
                <a:solidFill>
                  <a:schemeClr val="tx2"/>
                </a:solidFill>
                <a:sym typeface="Wingdings" panose="05000000000000000000" pitchFamily="2" charset="2"/>
              </a:rPr>
              <a:t></a:t>
            </a:r>
            <a:r>
              <a:rPr lang="ru-RU" dirty="0">
                <a:solidFill>
                  <a:schemeClr val="tx2"/>
                </a:solidFill>
              </a:rPr>
              <a:t> ПРЯМОЙ потенциал подключения сотен миллионов объектов LPWA при помощи спутника </a:t>
            </a:r>
          </a:p>
        </p:txBody>
      </p:sp>
    </p:spTree>
    <p:extLst>
      <p:ext uri="{BB962C8B-B14F-4D97-AF65-F5344CB8AC3E}">
        <p14:creationId xmlns:p14="http://schemas.microsoft.com/office/powerpoint/2010/main" val="424079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B55635E-FA61-4511-983D-E9A914199DAE}"/>
              </a:ext>
            </a:extLst>
          </p:cNvPr>
          <p:cNvSpPr/>
          <p:nvPr/>
        </p:nvSpPr>
        <p:spPr>
          <a:xfrm>
            <a:off x="392561" y="3607468"/>
            <a:ext cx="2823119" cy="247500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err="1">
              <a:solidFill>
                <a:schemeClr val="tx2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4613"/>
            <a:ext cx="11513168" cy="542486"/>
          </a:xfrm>
        </p:spPr>
        <p:txBody>
          <a:bodyPr/>
          <a:lstStyle/>
          <a:p>
            <a:pPr>
              <a:spcBef>
                <a:spcPts val="1000"/>
              </a:spcBef>
            </a:pPr>
            <a:r>
              <a:rPr lang="ru-RU" sz="2000"/>
              <a:t>ВСЕМИРНЫЙ ПЛАН ДЕЙСТВИЙ ELO</a:t>
            </a:r>
          </a:p>
        </p:txBody>
      </p:sp>
      <p:sp>
        <p:nvSpPr>
          <p:cNvPr id="50" name="AutoShape 2" descr="RÃ©sultats de recherche d'images pour Â«Â continuous upgrade iconÂ Â»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1" name="AutoShape 4" descr="RÃ©sultats de recherche d'images pour Â«Â continuous upgrade iconÂ Â»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9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14"/>
          <a:stretch/>
        </p:blipFill>
        <p:spPr bwMode="auto">
          <a:xfrm>
            <a:off x="1692385" y="3681486"/>
            <a:ext cx="1556620" cy="559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8367" y="4581041"/>
            <a:ext cx="812829" cy="466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8" descr="RÃ©sultats de recherche d'images pour Â«Â logo nb iotÂ Â»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917" y="5266796"/>
            <a:ext cx="693740" cy="241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0" descr="RÃ©sultats de recherche d'images pour Â«Â logo lte mÂ Â»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4631" y="5329763"/>
            <a:ext cx="1189088" cy="66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TextBox 62"/>
          <p:cNvSpPr txBox="1"/>
          <p:nvPr/>
        </p:nvSpPr>
        <p:spPr bwMode="gray">
          <a:xfrm>
            <a:off x="399764" y="3811667"/>
            <a:ext cx="1626105" cy="258276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200" b="1"/>
              <a:t>Для начала </a:t>
            </a:r>
          </a:p>
        </p:txBody>
      </p:sp>
      <p:sp>
        <p:nvSpPr>
          <p:cNvPr id="67" name="TextBox 66"/>
          <p:cNvSpPr txBox="1"/>
          <p:nvPr/>
        </p:nvSpPr>
        <p:spPr bwMode="gray">
          <a:xfrm>
            <a:off x="399764" y="4032647"/>
            <a:ext cx="3138273" cy="412164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100" dirty="0"/>
              <a:t>(ELO 1 и 2 – только </a:t>
            </a:r>
          </a:p>
          <a:p>
            <a:r>
              <a:rPr lang="ru-RU" sz="1100" dirty="0"/>
              <a:t>в этих целях)</a:t>
            </a:r>
          </a:p>
        </p:txBody>
      </p:sp>
      <p:sp>
        <p:nvSpPr>
          <p:cNvPr id="68" name="TextBox 67"/>
          <p:cNvSpPr txBox="1"/>
          <p:nvPr/>
        </p:nvSpPr>
        <p:spPr bwMode="gray">
          <a:xfrm>
            <a:off x="399764" y="4581128"/>
            <a:ext cx="3132733" cy="442942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200" b="1" dirty="0"/>
              <a:t>Нацеленность </a:t>
            </a:r>
          </a:p>
          <a:p>
            <a:r>
              <a:rPr lang="ru-RU" sz="1200" b="1" dirty="0"/>
              <a:t>на интеграцию</a:t>
            </a:r>
          </a:p>
        </p:txBody>
      </p:sp>
      <p:sp>
        <p:nvSpPr>
          <p:cNvPr id="71" name="TextBox 70"/>
          <p:cNvSpPr txBox="1"/>
          <p:nvPr/>
        </p:nvSpPr>
        <p:spPr bwMode="gray">
          <a:xfrm>
            <a:off x="414609" y="5209014"/>
            <a:ext cx="1656697" cy="812274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200" b="1" dirty="0"/>
              <a:t>Подготовка к интеграции </a:t>
            </a:r>
            <a:r>
              <a:rPr lang="ru-RU" sz="1200" dirty="0"/>
              <a:t>в долгосрочной перспективе</a:t>
            </a:r>
          </a:p>
        </p:txBody>
      </p:sp>
      <p:sp>
        <p:nvSpPr>
          <p:cNvPr id="75" name="TextBox 74"/>
          <p:cNvSpPr txBox="1"/>
          <p:nvPr/>
        </p:nvSpPr>
        <p:spPr bwMode="gray">
          <a:xfrm>
            <a:off x="2653556" y="2681219"/>
            <a:ext cx="1917643" cy="442942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200" dirty="0"/>
              <a:t>Технические </a:t>
            </a:r>
          </a:p>
          <a:p>
            <a:r>
              <a:rPr lang="ru-RU" sz="1200" dirty="0"/>
              <a:t>наработки</a:t>
            </a:r>
          </a:p>
        </p:txBody>
      </p:sp>
      <p:pic>
        <p:nvPicPr>
          <p:cNvPr id="76" name="Picture 4" descr="RÃ©sultats de recherche d'images pour Â«Â new space iconÂ Â»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12289" y="1545126"/>
            <a:ext cx="339260" cy="20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4" descr="RÃ©sultats de recherche d'images pour Â«Â new space iconÂ Â»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15290" y="1545126"/>
            <a:ext cx="339260" cy="20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4" descr="RÃ©sultats de recherche d'images pour Â«Â new space iconÂ Â»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33269" y="1545126"/>
            <a:ext cx="339260" cy="20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Rectangle 78"/>
          <p:cNvSpPr/>
          <p:nvPr/>
        </p:nvSpPr>
        <p:spPr bwMode="gray">
          <a:xfrm>
            <a:off x="4370743" y="2951161"/>
            <a:ext cx="3021401" cy="3348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449" tIns="36449" rIns="36449" bIns="36449" rtlCol="0" anchor="ctr"/>
          <a:lstStyle/>
          <a:p>
            <a:pPr algn="ctr"/>
            <a:r>
              <a:rPr lang="ru-RU" sz="1200" b="1"/>
              <a:t>Бета </a:t>
            </a:r>
            <a:r>
              <a:rPr lang="ru-RU" sz="1200"/>
              <a:t>– обслуживание отдельных заказчиков и партнеров</a:t>
            </a:r>
          </a:p>
        </p:txBody>
      </p:sp>
      <p:pic>
        <p:nvPicPr>
          <p:cNvPr id="80" name="Picture 4" descr="RÃ©sultats de recherche d'images pour Â«Â new space iconÂ Â»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79976" y="1545126"/>
            <a:ext cx="339260" cy="20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4" descr="RÃ©sultats de recherche d'images pour Â«Â new space iconÂ Â»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908868" y="1545126"/>
            <a:ext cx="339260" cy="20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Rectangle 81"/>
          <p:cNvSpPr/>
          <p:nvPr/>
        </p:nvSpPr>
        <p:spPr bwMode="gray">
          <a:xfrm>
            <a:off x="7392144" y="3571526"/>
            <a:ext cx="4608512" cy="334800"/>
          </a:xfrm>
          <a:prstGeom prst="rect">
            <a:avLst/>
          </a:prstGeom>
          <a:solidFill>
            <a:srgbClr val="009E47"/>
          </a:solidFill>
          <a:ln w="952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449" tIns="36449" rIns="36449" bIns="36449" rtlCol="0" anchor="ctr"/>
          <a:lstStyle/>
          <a:p>
            <a:pPr algn="ctr"/>
            <a:endParaRPr lang="en-US" sz="1200" dirty="0"/>
          </a:p>
        </p:txBody>
      </p:sp>
      <p:cxnSp>
        <p:nvCxnSpPr>
          <p:cNvPr id="83" name="Straight Arrow Connector 10"/>
          <p:cNvCxnSpPr/>
          <p:nvPr/>
        </p:nvCxnSpPr>
        <p:spPr bwMode="gray">
          <a:xfrm rot="16200000" flipH="1">
            <a:off x="6902680" y="3250041"/>
            <a:ext cx="456010" cy="522917"/>
          </a:xfrm>
          <a:prstGeom prst="bentConnector2">
            <a:avLst/>
          </a:prstGeom>
          <a:ln w="2857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 bwMode="gray">
          <a:xfrm>
            <a:off x="4387629" y="3314740"/>
            <a:ext cx="2448272" cy="258276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200"/>
              <a:t>Технические + рыночные наработки</a:t>
            </a:r>
          </a:p>
        </p:txBody>
      </p:sp>
      <p:sp>
        <p:nvSpPr>
          <p:cNvPr id="85" name="TextBox 84"/>
          <p:cNvSpPr txBox="1"/>
          <p:nvPr/>
        </p:nvSpPr>
        <p:spPr bwMode="gray">
          <a:xfrm>
            <a:off x="8825974" y="3607468"/>
            <a:ext cx="2562993" cy="504497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200" b="1">
                <a:solidFill>
                  <a:schemeClr val="lt1"/>
                </a:solidFill>
              </a:rPr>
              <a:t>Коммерческая </a:t>
            </a:r>
            <a:r>
              <a:rPr lang="ru-RU" sz="1200">
                <a:solidFill>
                  <a:schemeClr val="lt1"/>
                </a:solidFill>
              </a:rPr>
              <a:t>эксплуатация</a:t>
            </a:r>
          </a:p>
          <a:p>
            <a:endParaRPr lang="en-US" sz="1600" dirty="0"/>
          </a:p>
        </p:txBody>
      </p:sp>
      <p:sp>
        <p:nvSpPr>
          <p:cNvPr id="86" name="TextBox 85"/>
          <p:cNvSpPr txBox="1"/>
          <p:nvPr/>
        </p:nvSpPr>
        <p:spPr bwMode="gray">
          <a:xfrm>
            <a:off x="3732369" y="1761150"/>
            <a:ext cx="720080" cy="242887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100" b="1"/>
              <a:t>ELO 1</a:t>
            </a:r>
          </a:p>
        </p:txBody>
      </p:sp>
      <p:sp>
        <p:nvSpPr>
          <p:cNvPr id="87" name="TextBox 86"/>
          <p:cNvSpPr txBox="1"/>
          <p:nvPr/>
        </p:nvSpPr>
        <p:spPr bwMode="gray">
          <a:xfrm>
            <a:off x="4727848" y="1761150"/>
            <a:ext cx="720080" cy="242887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100" b="1"/>
              <a:t>ELO 2</a:t>
            </a:r>
          </a:p>
        </p:txBody>
      </p:sp>
      <p:sp>
        <p:nvSpPr>
          <p:cNvPr id="88" name="TextBox 87"/>
          <p:cNvSpPr txBox="1"/>
          <p:nvPr/>
        </p:nvSpPr>
        <p:spPr bwMode="gray">
          <a:xfrm>
            <a:off x="5755572" y="1761150"/>
            <a:ext cx="1152128" cy="242887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100" b="1"/>
              <a:t>ELO 3</a:t>
            </a:r>
          </a:p>
        </p:txBody>
      </p:sp>
      <p:sp>
        <p:nvSpPr>
          <p:cNvPr id="89" name="TextBox 88"/>
          <p:cNvSpPr txBox="1"/>
          <p:nvPr/>
        </p:nvSpPr>
        <p:spPr bwMode="gray">
          <a:xfrm>
            <a:off x="2770999" y="1751242"/>
            <a:ext cx="1008996" cy="412164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100" b="1"/>
              <a:t>ELO Альфа</a:t>
            </a:r>
            <a:br>
              <a:rPr lang="ru-RU" sz="1100" b="1"/>
            </a:br>
            <a:endParaRPr lang="ru-RU" sz="1100" b="1"/>
          </a:p>
        </p:txBody>
      </p:sp>
      <p:sp>
        <p:nvSpPr>
          <p:cNvPr id="90" name="TextBox 89"/>
          <p:cNvSpPr txBox="1"/>
          <p:nvPr/>
        </p:nvSpPr>
        <p:spPr bwMode="gray">
          <a:xfrm>
            <a:off x="7494473" y="3933056"/>
            <a:ext cx="3816423" cy="627608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>
            <a:defPPr>
              <a:defRPr lang="en-GB"/>
            </a:defPPr>
            <a:lvl1pPr>
              <a:defRPr sz="1100" b="1">
                <a:solidFill>
                  <a:srgbClr val="00B050"/>
                </a:solidFill>
              </a:defRPr>
            </a:lvl1pPr>
          </a:lstStyle>
          <a:p>
            <a:r>
              <a:rPr lang="ru-RU" sz="1200">
                <a:solidFill>
                  <a:schemeClr val="tx2">
                    <a:lumMod val="75000"/>
                  </a:schemeClr>
                </a:solidFill>
              </a:rPr>
              <a:t>Масштабирование по мере развития с учетом роста рынка </a:t>
            </a:r>
            <a:r>
              <a:rPr lang="ru-RU" sz="1200" b="0">
                <a:solidFill>
                  <a:schemeClr val="tx2">
                    <a:lumMod val="75000"/>
                  </a:schemeClr>
                </a:solidFill>
              </a:rPr>
              <a:t>(технический партнер будет определен позднее) </a:t>
            </a:r>
          </a:p>
          <a:p>
            <a:r>
              <a:rPr lang="ru-RU" sz="1200" b="0">
                <a:solidFill>
                  <a:schemeClr val="tx2">
                    <a:lumMod val="75000"/>
                  </a:schemeClr>
                </a:solidFill>
              </a:rPr>
              <a:t>+ </a:t>
            </a:r>
            <a:r>
              <a:rPr lang="ru-RU" sz="1200">
                <a:solidFill>
                  <a:schemeClr val="tx2">
                    <a:lumMod val="75000"/>
                  </a:schemeClr>
                </a:solidFill>
              </a:rPr>
              <a:t>возможная интеграция технологии LoRa</a:t>
            </a:r>
          </a:p>
        </p:txBody>
      </p:sp>
      <p:sp>
        <p:nvSpPr>
          <p:cNvPr id="91" name="TextBox 90"/>
          <p:cNvSpPr txBox="1"/>
          <p:nvPr/>
        </p:nvSpPr>
        <p:spPr bwMode="gray">
          <a:xfrm>
            <a:off x="8609743" y="1811761"/>
            <a:ext cx="3816424" cy="396775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050" i="1" dirty="0">
                <a:solidFill>
                  <a:schemeClr val="tx2">
                    <a:lumMod val="75000"/>
                  </a:schemeClr>
                </a:solidFill>
              </a:rPr>
              <a:t>Количества и наращивание спутников </a:t>
            </a:r>
          </a:p>
          <a:p>
            <a:r>
              <a:rPr lang="ru-RU" sz="1050" i="1" dirty="0">
                <a:solidFill>
                  <a:schemeClr val="tx2">
                    <a:lumMod val="75000"/>
                  </a:schemeClr>
                </a:solidFill>
              </a:rPr>
              <a:t>указаны в качестве примера</a:t>
            </a:r>
          </a:p>
        </p:txBody>
      </p:sp>
      <p:pic>
        <p:nvPicPr>
          <p:cNvPr id="96" name="Picture 4" descr="RÃ©sultats de recherche d'images pour Â«Â new space iconÂ Â»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048328" y="1545126"/>
            <a:ext cx="339260" cy="20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4" descr="RÃ©sultats de recherche d'images pour Â«Â new space iconÂ Â»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378613" y="1545126"/>
            <a:ext cx="339260" cy="20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4" descr="RÃ©sultats de recherche d'images pour Â«Â new space iconÂ Â»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818080" y="1545126"/>
            <a:ext cx="339260" cy="20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4" descr="RÃ©sultats de recherche d'images pour Â«Â new space iconÂ Â»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1157340" y="1545126"/>
            <a:ext cx="339260" cy="20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TextBox 99"/>
          <p:cNvSpPr txBox="1"/>
          <p:nvPr/>
        </p:nvSpPr>
        <p:spPr bwMode="gray">
          <a:xfrm>
            <a:off x="6888088" y="1772816"/>
            <a:ext cx="1152128" cy="242887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100" b="1"/>
              <a:t>ELO 4</a:t>
            </a:r>
          </a:p>
        </p:txBody>
      </p:sp>
      <p:sp>
        <p:nvSpPr>
          <p:cNvPr id="101" name="TextBox 100"/>
          <p:cNvSpPr txBox="1"/>
          <p:nvPr/>
        </p:nvSpPr>
        <p:spPr bwMode="gray">
          <a:xfrm>
            <a:off x="2648628" y="1965878"/>
            <a:ext cx="2275900" cy="227498"/>
          </a:xfrm>
          <a:prstGeom prst="rect">
            <a:avLst/>
          </a:prstGeom>
        </p:spPr>
        <p:txBody>
          <a:bodyPr vert="horz" wrap="square" lIns="36449" tIns="36449" rIns="36449" bIns="36449" rtlCol="0">
            <a:spAutoFit/>
          </a:bodyPr>
          <a:lstStyle/>
          <a:p>
            <a:r>
              <a:rPr lang="ru-RU" sz="1000" i="1"/>
              <a:t>Испытания всех технологий LPWA</a:t>
            </a:r>
          </a:p>
        </p:txBody>
      </p:sp>
      <p:sp>
        <p:nvSpPr>
          <p:cNvPr id="102" name="Rectangle 101"/>
          <p:cNvSpPr/>
          <p:nvPr/>
        </p:nvSpPr>
        <p:spPr bwMode="gray">
          <a:xfrm>
            <a:off x="2682301" y="2348880"/>
            <a:ext cx="2405587" cy="3348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449" tIns="36449" rIns="36449" bIns="36449" rtlCol="0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Альфа </a:t>
            </a:r>
            <a:r>
              <a:rPr lang="ru-RU" sz="1200">
                <a:solidFill>
                  <a:schemeClr val="bg1"/>
                </a:solidFill>
              </a:rPr>
              <a:t>– этап испытаний</a:t>
            </a:r>
          </a:p>
        </p:txBody>
      </p:sp>
      <p:cxnSp>
        <p:nvCxnSpPr>
          <p:cNvPr id="105" name="Straight Arrow Connector 10"/>
          <p:cNvCxnSpPr/>
          <p:nvPr/>
        </p:nvCxnSpPr>
        <p:spPr bwMode="gray">
          <a:xfrm rot="16200000" flipH="1">
            <a:off x="3898165" y="2650227"/>
            <a:ext cx="456010" cy="522917"/>
          </a:xfrm>
          <a:prstGeom prst="bentConnector2">
            <a:avLst/>
          </a:prstGeom>
          <a:ln w="2857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15AC83D-0113-40AF-AE4C-FF2B5696240D}"/>
              </a:ext>
            </a:extLst>
          </p:cNvPr>
          <p:cNvGrpSpPr/>
          <p:nvPr/>
        </p:nvGrpSpPr>
        <p:grpSpPr>
          <a:xfrm>
            <a:off x="399140" y="878816"/>
            <a:ext cx="11670798" cy="422869"/>
            <a:chOff x="604467" y="1356320"/>
            <a:chExt cx="7720733" cy="422869"/>
          </a:xfrm>
        </p:grpSpPr>
        <p:sp>
          <p:nvSpPr>
            <p:cNvPr id="40" name="OTLSHAPE_TB_00000000000000000000000000000000_ScaleContainer">
              <a:extLst>
                <a:ext uri="{FF2B5EF4-FFF2-40B4-BE49-F238E27FC236}">
                  <a16:creationId xmlns:a16="http://schemas.microsoft.com/office/drawing/2014/main" id="{F45F1251-1AA6-41CA-A427-2727074F09C9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04467" y="1395898"/>
              <a:ext cx="7507757" cy="383291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reflection blurRad="6350" stA="50000" endA="300" endPos="55500" dist="50800" dir="5400000" sy="-100000" algn="bl" rotWithShape="0"/>
            </a:effectLst>
            <a:scene3d>
              <a:camera prst="orthographicFront"/>
              <a:lightRig rig="threePt" dir="t">
                <a:rot lat="0" lon="0" rev="8700000"/>
              </a:lightRig>
            </a:scene3d>
            <a:sp3d>
              <a:bevelT w="16510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400"/>
            </a:p>
          </p:txBody>
        </p:sp>
        <p:sp>
          <p:nvSpPr>
            <p:cNvPr id="43" name="ZoneTexte 5">
              <a:extLst>
                <a:ext uri="{FF2B5EF4-FFF2-40B4-BE49-F238E27FC236}">
                  <a16:creationId xmlns:a16="http://schemas.microsoft.com/office/drawing/2014/main" id="{C307ADBB-28DF-4638-9BAC-293A18E50F9D}"/>
                </a:ext>
              </a:extLst>
            </p:cNvPr>
            <p:cNvSpPr txBox="1"/>
            <p:nvPr/>
          </p:nvSpPr>
          <p:spPr>
            <a:xfrm>
              <a:off x="1435145" y="1454733"/>
              <a:ext cx="80499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>
                  <a:solidFill>
                    <a:schemeClr val="bg1"/>
                  </a:solidFill>
                </a:rPr>
                <a:t>2020</a:t>
              </a:r>
            </a:p>
          </p:txBody>
        </p:sp>
        <p:sp>
          <p:nvSpPr>
            <p:cNvPr id="45" name="ZoneTexte 8">
              <a:extLst>
                <a:ext uri="{FF2B5EF4-FFF2-40B4-BE49-F238E27FC236}">
                  <a16:creationId xmlns:a16="http://schemas.microsoft.com/office/drawing/2014/main" id="{D5257373-B0EA-49CD-B4BC-67CD44449450}"/>
                </a:ext>
              </a:extLst>
            </p:cNvPr>
            <p:cNvSpPr txBox="1"/>
            <p:nvPr/>
          </p:nvSpPr>
          <p:spPr>
            <a:xfrm>
              <a:off x="3841499" y="1431269"/>
              <a:ext cx="80499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>
                  <a:solidFill>
                    <a:schemeClr val="bg1"/>
                  </a:solidFill>
                </a:rPr>
                <a:t>2021</a:t>
              </a:r>
            </a:p>
          </p:txBody>
        </p:sp>
        <p:sp>
          <p:nvSpPr>
            <p:cNvPr id="52" name="ZoneTexte 9">
              <a:extLst>
                <a:ext uri="{FF2B5EF4-FFF2-40B4-BE49-F238E27FC236}">
                  <a16:creationId xmlns:a16="http://schemas.microsoft.com/office/drawing/2014/main" id="{00A7B3F2-671D-41E9-A8C8-47C828B02B59}"/>
                </a:ext>
              </a:extLst>
            </p:cNvPr>
            <p:cNvSpPr txBox="1"/>
            <p:nvPr/>
          </p:nvSpPr>
          <p:spPr>
            <a:xfrm>
              <a:off x="6656991" y="1449621"/>
              <a:ext cx="80499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>
                  <a:solidFill>
                    <a:schemeClr val="bg1"/>
                  </a:solidFill>
                </a:rPr>
                <a:t>2022</a:t>
              </a:r>
            </a:p>
          </p:txBody>
        </p:sp>
        <p:cxnSp>
          <p:nvCxnSpPr>
            <p:cNvPr id="54" name="OTLSHAPE_TB_00000000000000000000000000000000_Separator6">
              <a:extLst>
                <a:ext uri="{FF2B5EF4-FFF2-40B4-BE49-F238E27FC236}">
                  <a16:creationId xmlns:a16="http://schemas.microsoft.com/office/drawing/2014/main" id="{F1841708-8B93-4ED8-9522-DA3881619623}"/>
                </a:ext>
              </a:extLst>
            </p:cNvPr>
            <p:cNvCxnSpPr/>
            <p:nvPr>
              <p:custDataLst>
                <p:tags r:id="rId2"/>
              </p:custDataLst>
            </p:nvPr>
          </p:nvCxnSpPr>
          <p:spPr>
            <a:xfrm>
              <a:off x="5659366" y="1410090"/>
              <a:ext cx="0" cy="354906"/>
            </a:xfrm>
            <a:prstGeom prst="line">
              <a:avLst/>
            </a:prstGeom>
            <a:ln w="28575" cap="flat" cmpd="sng" algn="ctr">
              <a:solidFill>
                <a:schemeClr val="lt1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OTLSHAPE_TB_00000000000000000000000000000000_Separator5">
              <a:extLst>
                <a:ext uri="{FF2B5EF4-FFF2-40B4-BE49-F238E27FC236}">
                  <a16:creationId xmlns:a16="http://schemas.microsoft.com/office/drawing/2014/main" id="{CD0DEA85-DDE2-4CBD-A53A-DA4E883D8924}"/>
                </a:ext>
              </a:extLst>
            </p:cNvPr>
            <p:cNvCxnSpPr/>
            <p:nvPr>
              <p:custDataLst>
                <p:tags r:id="rId3"/>
              </p:custDataLst>
            </p:nvPr>
          </p:nvCxnSpPr>
          <p:spPr>
            <a:xfrm>
              <a:off x="3182275" y="1379646"/>
              <a:ext cx="0" cy="354906"/>
            </a:xfrm>
            <a:prstGeom prst="line">
              <a:avLst/>
            </a:prstGeom>
            <a:ln w="28575" cap="flat" cmpd="sng" algn="ctr">
              <a:solidFill>
                <a:schemeClr val="lt1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OTLSHAPE_TB_00000000000000000000000000000000_Separator6">
              <a:extLst>
                <a:ext uri="{FF2B5EF4-FFF2-40B4-BE49-F238E27FC236}">
                  <a16:creationId xmlns:a16="http://schemas.microsoft.com/office/drawing/2014/main" id="{B196569D-5C13-4982-8E4C-EAACF1310BB6}"/>
                </a:ext>
              </a:extLst>
            </p:cNvPr>
            <p:cNvCxnSpPr/>
            <p:nvPr>
              <p:custDataLst>
                <p:tags r:id="rId4"/>
              </p:custDataLst>
            </p:nvPr>
          </p:nvCxnSpPr>
          <p:spPr>
            <a:xfrm>
              <a:off x="8325200" y="1356320"/>
              <a:ext cx="0" cy="354906"/>
            </a:xfrm>
            <a:prstGeom prst="line">
              <a:avLst/>
            </a:prstGeom>
            <a:ln w="28575" cap="flat" cmpd="sng" algn="ctr">
              <a:solidFill>
                <a:schemeClr val="lt1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10401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S38FAcgFlrOsJ_wPvN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lq34A2P2hnkocpVVTx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lq34A2P2hnkocpVVTx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vIEL3X_MRhDIKqn2xc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Gj5CftJsSTamxL9mtu4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1FvtcSsRs3ArElTfn8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nFQol9HBxuZ9eyhFuI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szh1OFtw8a0SBCeziz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Vav1r8cufoOVdRo8ib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p2h_Z.0G59Odwx4izY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utelsat">
  <a:themeElements>
    <a:clrScheme name="Personnalisé 9">
      <a:dk1>
        <a:srgbClr val="000000"/>
      </a:dk1>
      <a:lt1>
        <a:srgbClr val="FFFFFF"/>
      </a:lt1>
      <a:dk2>
        <a:srgbClr val="0D174E"/>
      </a:dk2>
      <a:lt2>
        <a:srgbClr val="007DBA"/>
      </a:lt2>
      <a:accent1>
        <a:srgbClr val="347EB9"/>
      </a:accent1>
      <a:accent2>
        <a:srgbClr val="57C1D5"/>
      </a:accent2>
      <a:accent3>
        <a:srgbClr val="7F7F7F"/>
      </a:accent3>
      <a:accent4>
        <a:srgbClr val="4CB0F0"/>
      </a:accent4>
      <a:accent5>
        <a:srgbClr val="B63866"/>
      </a:accent5>
      <a:accent6>
        <a:srgbClr val="D9662C"/>
      </a:accent6>
      <a:hlink>
        <a:srgbClr val="7F7F7F"/>
      </a:hlink>
      <a:folHlink>
        <a:srgbClr val="000000"/>
      </a:folHlink>
    </a:clrScheme>
    <a:fontScheme name="Custom 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utelsat Template PowerPoint v2.potx" id="{4B1F42AB-59D5-4173-B920-E21C7D8BAE00}" vid="{D822B22E-030F-456E-BD49-7DDE13526323}"/>
    </a:ext>
  </a:extLst>
</a:theme>
</file>

<file path=ppt/theme/theme2.xml><?xml version="1.0" encoding="utf-8"?>
<a:theme xmlns:a="http://schemas.openxmlformats.org/drawingml/2006/main" name="Eutelsat">
  <a:themeElements>
    <a:clrScheme name="Eutelsat">
      <a:dk1>
        <a:srgbClr val="000000"/>
      </a:dk1>
      <a:lt1>
        <a:srgbClr val="FFFFFF"/>
      </a:lt1>
      <a:dk2>
        <a:srgbClr val="007DBA"/>
      </a:dk2>
      <a:lt2>
        <a:srgbClr val="00C1D5"/>
      </a:lt2>
      <a:accent1>
        <a:srgbClr val="0C1551"/>
      </a:accent1>
      <a:accent2>
        <a:srgbClr val="00B0F0"/>
      </a:accent2>
      <a:accent3>
        <a:srgbClr val="BDCE18"/>
      </a:accent3>
      <a:accent4>
        <a:srgbClr val="E95D0F"/>
      </a:accent4>
      <a:accent5>
        <a:srgbClr val="F29400"/>
      </a:accent5>
      <a:accent6>
        <a:srgbClr val="F54E96"/>
      </a:accent6>
      <a:hlink>
        <a:srgbClr val="7F7F7F"/>
      </a:hlink>
      <a:folHlink>
        <a:srgbClr val="000000"/>
      </a:folHlink>
    </a:clrScheme>
    <a:fontScheme name="Custom 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utelsat Template PowerPoint v2.potx" id="{4B1F42AB-59D5-4173-B920-E21C7D8BAE00}" vid="{D822B22E-030F-456E-BD49-7DDE13526323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742F9C1310A54D832780CAA23BF2D0" ma:contentTypeVersion="22" ma:contentTypeDescription="Create a new document." ma:contentTypeScope="" ma:versionID="524df76ac9e6795be36d605c1a3d0428">
  <xsd:schema xmlns:xsd="http://www.w3.org/2001/XMLSchema" xmlns:xs="http://www.w3.org/2001/XMLSchema" xmlns:p="http://schemas.microsoft.com/office/2006/metadata/properties" xmlns:ns2="ebeadcec-667e-4e27-b149-52020121fbd8" xmlns:ns3="f6c2ad43-3e0c-4d5a-ac0a-8420a218cf24" targetNamespace="http://schemas.microsoft.com/office/2006/metadata/properties" ma:root="true" ma:fieldsID="10b3f4164de9a515b6ac58e3dce819fc" ns2:_="" ns3:_="">
    <xsd:import namespace="ebeadcec-667e-4e27-b149-52020121fbd8"/>
    <xsd:import namespace="f6c2ad43-3e0c-4d5a-ac0a-8420a218cf24"/>
    <xsd:element name="properties">
      <xsd:complexType>
        <xsd:sequence>
          <xsd:element name="documentManagement">
            <xsd:complexType>
              <xsd:all>
                <xsd:element ref="ns2:a9f36b0ac074459fa85525f23e23a68b" minOccurs="0"/>
                <xsd:element ref="ns2:TaxCatchAll" minOccurs="0"/>
                <xsd:element ref="ns2:bd1938cfd1524828bff862ab3d379212" minOccurs="0"/>
                <xsd:element ref="ns2:a954bc089937440dad9dbd5e72f03d46" minOccurs="0"/>
                <xsd:element ref="ns2:ba0765aab29646448b479851bdac5278" minOccurs="0"/>
                <xsd:element ref="ns2:a9822a69bb7344f9b80ce088b66b1811" minOccurs="0"/>
                <xsd:element ref="ns2:n83c117e3eba4fd08de6e1540a354726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eadcec-667e-4e27-b149-52020121fbd8" elementFormDefault="qualified">
    <xsd:import namespace="http://schemas.microsoft.com/office/2006/documentManagement/types"/>
    <xsd:import namespace="http://schemas.microsoft.com/office/infopath/2007/PartnerControls"/>
    <xsd:element name="a9f36b0ac074459fa85525f23e23a68b" ma:index="9" nillable="true" ma:taxonomy="true" ma:internalName="a9f36b0ac074459fa85525f23e23a68b" ma:taxonomyFieldName="EutDocumentType" ma:displayName="Categories" ma:default="" ma:fieldId="{a9f36b0a-c074-459f-a855-25f23e23a68b}" ma:taxonomyMulti="true" ma:sspId="3fad7815-e70a-4748-8a0b-26682e095d50" ma:termSetId="66c7d658-5fb6-4074-bf5a-475f07ba3bdd" ma:anchorId="0c474337-2b2b-4e57-9cdd-26007365b5e4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3600b4ed-6794-4fa6-872a-1656d3665798}" ma:internalName="TaxCatchAll" ma:showField="CatchAllData" ma:web="ebeadcec-667e-4e27-b149-52020121fbd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d1938cfd1524828bff862ab3d379212" ma:index="12" nillable="true" ma:taxonomy="true" ma:internalName="bd1938cfd1524828bff862ab3d379212" ma:taxonomyFieldName="EutSatellite" ma:displayName="Satellite" ma:default="" ma:fieldId="{bd1938cf-d152-4828-bff8-62ab3d379212}" ma:taxonomyMulti="true" ma:sspId="3fad7815-e70a-4748-8a0b-26682e095d50" ma:termSetId="3ca96cea-9bd8-428e-8ad4-43518afbe8a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954bc089937440dad9dbd5e72f03d46" ma:index="14" nillable="true" ma:taxonomy="true" ma:internalName="a954bc089937440dad9dbd5e72f03d46" ma:taxonomyFieldName="EutAccess" ma:displayName="Access" ma:default="" ma:fieldId="{a954bc08-9937-440d-ad9d-bd5e72f03d46}" ma:sspId="3fad7815-e70a-4748-8a0b-26682e095d50" ma:termSetId="4d6f1f79-eab3-4d81-b24a-698e73d49bc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0765aab29646448b479851bdac5278" ma:index="16" nillable="true" ma:taxonomy="true" ma:internalName="ba0765aab29646448b479851bdac5278" ma:taxonomyFieldName="EutApplication" ma:displayName="Application" ma:default="" ma:fieldId="{ba0765aa-b296-4644-8b47-9851bdac5278}" ma:taxonomyMulti="true" ma:sspId="3fad7815-e70a-4748-8a0b-26682e095d50" ma:termSetId="9be7ff28-5ba0-451e-b152-c8e492a95be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9822a69bb7344f9b80ce088b66b1811" ma:index="18" nillable="true" ma:taxonomy="true" ma:internalName="a9822a69bb7344f9b80ce088b66b1811" ma:taxonomyFieldName="EutContentType" ma:displayName="Content Type" ma:default="" ma:fieldId="{a9822a69-bb73-44f9-b80c-e088b66b1811}" ma:sspId="3fad7815-e70a-4748-8a0b-26682e095d50" ma:termSetId="5d9b2dd3-5442-46d8-81d1-03249004488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83c117e3eba4fd08de6e1540a354726" ma:index="20" nillable="true" ma:taxonomy="true" ma:internalName="n83c117e3eba4fd08de6e1540a354726" ma:taxonomyFieldName="EutRegion" ma:displayName="Region" ma:default="" ma:fieldId="{783c117e-3eba-4fd0-8de6-e1540a354726}" ma:taxonomyMulti="true" ma:sspId="3fad7815-e70a-4748-8a0b-26682e095d50" ma:termSetId="77c7789e-a9d0-45df-98bd-7a77c277cf8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c2ad43-3e0c-4d5a-ac0a-8420a218cf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9f36b0ac074459fa85525f23e23a68b xmlns="ebeadcec-667e-4e27-b149-52020121fbd8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</TermName>
          <TermId xmlns="http://schemas.microsoft.com/office/infopath/2007/PartnerControls">399a6534-e318-4563-8a44-23fc9cc8a0e3</TermId>
        </TermInfo>
        <TermInfo xmlns="http://schemas.microsoft.com/office/infopath/2007/PartnerControls">
          <TermName xmlns="http://schemas.microsoft.com/office/infopath/2007/PartnerControls">Sales</TermName>
          <TermId xmlns="http://schemas.microsoft.com/office/infopath/2007/PartnerControls">58600e7c-b0ea-4891-af5a-b6287e11bdb9</TermId>
        </TermInfo>
        <TermInfo xmlns="http://schemas.microsoft.com/office/infopath/2007/PartnerControls">
          <TermName xmlns="http://schemas.microsoft.com/office/infopath/2007/PartnerControls">Connectivity</TermName>
          <TermId xmlns="http://schemas.microsoft.com/office/infopath/2007/PartnerControls">8df4c7d1-c2df-4670-8099-45298d11efe0</TermId>
        </TermInfo>
        <TermInfo xmlns="http://schemas.microsoft.com/office/infopath/2007/PartnerControls">
          <TermName xmlns="http://schemas.microsoft.com/office/infopath/2007/PartnerControls">Service</TermName>
          <TermId xmlns="http://schemas.microsoft.com/office/infopath/2007/PartnerControls">eca35676-f5ee-455d-bc46-929479c0e8e8</TermId>
        </TermInfo>
        <TermInfo xmlns="http://schemas.microsoft.com/office/infopath/2007/PartnerControls">
          <TermName xmlns="http://schemas.microsoft.com/office/infopath/2007/PartnerControls">IoT</TermName>
          <TermId xmlns="http://schemas.microsoft.com/office/infopath/2007/PartnerControls">be52afbf-c91b-44ae-b4a3-0256aaf99e0a</TermId>
        </TermInfo>
      </Terms>
    </a9f36b0ac074459fa85525f23e23a68b>
    <a954bc089937440dad9dbd5e72f03d46 xmlns="ebeadcec-667e-4e27-b149-52020121fbd8">
      <Terms xmlns="http://schemas.microsoft.com/office/infopath/2007/PartnerControls"/>
    </a954bc089937440dad9dbd5e72f03d46>
    <a9822a69bb7344f9b80ce088b66b1811 xmlns="ebeadcec-667e-4e27-b149-52020121fbd8">
      <Terms xmlns="http://schemas.microsoft.com/office/infopath/2007/PartnerControls"/>
    </a9822a69bb7344f9b80ce088b66b1811>
    <ba0765aab29646448b479851bdac5278 xmlns="ebeadcec-667e-4e27-b149-52020121fbd8">
      <Terms xmlns="http://schemas.microsoft.com/office/infopath/2007/PartnerControls"/>
    </ba0765aab29646448b479851bdac5278>
    <n83c117e3eba4fd08de6e1540a354726 xmlns="ebeadcec-667e-4e27-b149-52020121fbd8">
      <Terms xmlns="http://schemas.microsoft.com/office/infopath/2007/PartnerControls"/>
    </n83c117e3eba4fd08de6e1540a354726>
    <bd1938cfd1524828bff862ab3d379212 xmlns="ebeadcec-667e-4e27-b149-52020121fbd8">
      <Terms xmlns="http://schemas.microsoft.com/office/infopath/2007/PartnerControls"/>
    </bd1938cfd1524828bff862ab3d379212>
    <TaxCatchAll xmlns="ebeadcec-667e-4e27-b149-52020121fbd8">
      <Value>76</Value>
      <Value>18</Value>
      <Value>17</Value>
      <Value>72</Value>
      <Value>71</Value>
    </TaxCatchAll>
  </documentManagement>
</p:properties>
</file>

<file path=customXml/itemProps1.xml><?xml version="1.0" encoding="utf-8"?>
<ds:datastoreItem xmlns:ds="http://schemas.openxmlformats.org/officeDocument/2006/customXml" ds:itemID="{B0A479A2-055F-44E0-A10B-8D8540AD3C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2F08191-2068-48FD-BC88-F117D8698D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eadcec-667e-4e27-b149-52020121fbd8"/>
    <ds:schemaRef ds:uri="f6c2ad43-3e0c-4d5a-ac0a-8420a218cf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A4E700B-E904-4D00-8693-9869BACF2383}">
  <ds:schemaRefs>
    <ds:schemaRef ds:uri="f6c2ad43-3e0c-4d5a-ac0a-8420a218cf24"/>
    <ds:schemaRef ds:uri="http://www.w3.org/XML/1998/namespace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ebeadcec-667e-4e27-b149-52020121fbd8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utelsat Template PowerPoint v2</Template>
  <TotalTime>8645</TotalTime>
  <Words>1257</Words>
  <Application>Microsoft Office PowerPoint</Application>
  <PresentationFormat>Widescreen</PresentationFormat>
  <Paragraphs>172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Verdana</vt:lpstr>
      <vt:lpstr>Webdings</vt:lpstr>
      <vt:lpstr>Wingdings</vt:lpstr>
      <vt:lpstr>Wingdings 3</vt:lpstr>
      <vt:lpstr>Eutelsat</vt:lpstr>
      <vt:lpstr>Eutelsat</vt:lpstr>
      <vt:lpstr>think-cell Slide</vt:lpstr>
      <vt:lpstr>ЕВТЕЛСАТ – ELO: ВЫВОДИМ Управление  физическими объектами через  Интернет (IoT) НА глобальныЙ УРОВЕНЬ </vt:lpstr>
      <vt:lpstr>Среди миллиардов объектов, которые будут подключены к сети в будущем,  приблизительно 15% будут использовать специализированные технологии LPWA</vt:lpstr>
      <vt:lpstr>PowerPoint Presentation</vt:lpstr>
      <vt:lpstr>Проект ELO: новая группировка, обеспечивающая  глобальное покрытие ДЛЯ ВСЕХ СЕТЕЙ LPWA</vt:lpstr>
      <vt:lpstr>Система ELO специально  разработана для нужд IoT </vt:lpstr>
      <vt:lpstr>ELO радикально отличается не только от прежних спутниковых служб,  но и от длинного перечня новых космических проектов в области IoT,  как по затратам, так и охвату рынка</vt:lpstr>
      <vt:lpstr>косвенный подход  к РАСПРОСТРАНЕНИЮ </vt:lpstr>
      <vt:lpstr>Многие сценарии применения IoT могут выигрышно использовать  глобальное покрытие, СУЩЕСТВУЕТ 3 основные вертикали</vt:lpstr>
      <vt:lpstr>ВСЕМИРНЫЙ ПЛАН ДЕЙСТВИЙ ELO</vt:lpstr>
      <vt:lpstr>ОСНОВНЫЕ аспекты гибридных услуг  по подключению IOT при поддержке EL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edit title</dc:title>
  <cp:lastModifiedBy>kurbangalieva alfira</cp:lastModifiedBy>
  <cp:revision>70</cp:revision>
  <dcterms:created xsi:type="dcterms:W3CDTF">2020-05-22T11:30:31Z</dcterms:created>
  <dcterms:modified xsi:type="dcterms:W3CDTF">2020-10-05T09:2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742F9C1310A54D832780CAA23BF2D0</vt:lpwstr>
  </property>
  <property fmtid="{D5CDD505-2E9C-101B-9397-08002B2CF9AE}" pid="3" name="EutDocumentType">
    <vt:lpwstr>18;#Marketing|399a6534-e318-4563-8a44-23fc9cc8a0e3;#17;#Sales|58600e7c-b0ea-4891-af5a-b6287e11bdb9;#71;#Connectivity|8df4c7d1-c2df-4670-8099-45298d11efe0;#72;#Service|eca35676-f5ee-455d-bc46-929479c0e8e8;#76;#IoT|be52afbf-c91b-44ae-b4a3-0256aaf99e0a</vt:lpwstr>
  </property>
  <property fmtid="{D5CDD505-2E9C-101B-9397-08002B2CF9AE}" pid="4" name="EutApplication">
    <vt:lpwstr/>
  </property>
  <property fmtid="{D5CDD505-2E9C-101B-9397-08002B2CF9AE}" pid="5" name="EutAccess">
    <vt:lpwstr/>
  </property>
  <property fmtid="{D5CDD505-2E9C-101B-9397-08002B2CF9AE}" pid="6" name="EutRegion">
    <vt:lpwstr/>
  </property>
  <property fmtid="{D5CDD505-2E9C-101B-9397-08002B2CF9AE}" pid="7" name="EutContentType">
    <vt:lpwstr/>
  </property>
  <property fmtid="{D5CDD505-2E9C-101B-9397-08002B2CF9AE}" pid="8" name="EutSatellite">
    <vt:lpwstr/>
  </property>
</Properties>
</file>